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4123" r:id="rId2"/>
    <p:sldMasterId id="2147484329" r:id="rId3"/>
  </p:sldMasterIdLst>
  <p:notesMasterIdLst>
    <p:notesMasterId r:id="rId22"/>
  </p:notesMasterIdLst>
  <p:sldIdLst>
    <p:sldId id="898" r:id="rId4"/>
    <p:sldId id="899" r:id="rId5"/>
    <p:sldId id="900" r:id="rId6"/>
    <p:sldId id="901" r:id="rId7"/>
    <p:sldId id="902" r:id="rId8"/>
    <p:sldId id="903" r:id="rId9"/>
    <p:sldId id="904" r:id="rId10"/>
    <p:sldId id="905" r:id="rId11"/>
    <p:sldId id="906" r:id="rId12"/>
    <p:sldId id="257" r:id="rId13"/>
    <p:sldId id="258" r:id="rId14"/>
    <p:sldId id="259" r:id="rId15"/>
    <p:sldId id="886" r:id="rId16"/>
    <p:sldId id="261" r:id="rId17"/>
    <p:sldId id="887" r:id="rId18"/>
    <p:sldId id="263" r:id="rId19"/>
    <p:sldId id="264" r:id="rId20"/>
    <p:sldId id="888" r:id="rId2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5608A19-C3D3-43E6-860E-454302617F17}">
          <p14:sldIdLst/>
        </p14:section>
        <p14:section name="+ Default" id="{AC21715C-4E5E-4ECE-9836-ED9758247A6E}">
          <p14:sldIdLst>
            <p14:sldId id="898"/>
            <p14:sldId id="899"/>
            <p14:sldId id="900"/>
            <p14:sldId id="901"/>
            <p14:sldId id="902"/>
            <p14:sldId id="903"/>
            <p14:sldId id="904"/>
            <p14:sldId id="905"/>
            <p14:sldId id="906"/>
            <p14:sldId id="257"/>
            <p14:sldId id="258"/>
            <p14:sldId id="259"/>
            <p14:sldId id="886"/>
            <p14:sldId id="261"/>
            <p14:sldId id="887"/>
            <p14:sldId id="263"/>
            <p14:sldId id="264"/>
            <p14:sldId id="88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59" d="100"/>
          <a:sy n="59" d="100"/>
        </p:scale>
        <p:origin x="92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-Marie Carrey" userId="f9afc4aa67827740" providerId="LiveId" clId="{89FC2E44-86AF-4521-902E-CA8F8113BB76}"/>
    <pc:docChg chg="delSld modSld delMainMaster modSection">
      <pc:chgData name="Ann-Marie Carrey" userId="f9afc4aa67827740" providerId="LiveId" clId="{89FC2E44-86AF-4521-902E-CA8F8113BB76}" dt="2026-07-02T08:09:59.202" v="2" actId="2696"/>
      <pc:docMkLst>
        <pc:docMk/>
      </pc:docMkLst>
      <pc:sldChg chg="del mod modShow">
        <pc:chgData name="Ann-Marie Carrey" userId="f9afc4aa67827740" providerId="LiveId" clId="{89FC2E44-86AF-4521-902E-CA8F8113BB76}" dt="2026-07-02T08:09:59.202" v="2" actId="2696"/>
        <pc:sldMkLst>
          <pc:docMk/>
          <pc:sldMk cId="4242663512" sldId="855"/>
        </pc:sldMkLst>
      </pc:sldChg>
      <pc:sldMasterChg chg="del delSldLayout">
        <pc:chgData name="Ann-Marie Carrey" userId="f9afc4aa67827740" providerId="LiveId" clId="{89FC2E44-86AF-4521-902E-CA8F8113BB76}" dt="2026-07-02T08:09:59.202" v="2" actId="2696"/>
        <pc:sldMasterMkLst>
          <pc:docMk/>
          <pc:sldMasterMk cId="1309362835" sldId="2147483660"/>
        </pc:sldMasterMkLst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2255194032" sldId="2147483661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3712746618" sldId="2147483662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2330848341" sldId="2147483663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690858678" sldId="2147483664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2834901061" sldId="2147483665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862210021" sldId="2147483666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355981256" sldId="2147483667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876836970" sldId="2147483668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4261172940" sldId="2147483669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542828602" sldId="2147483670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292947661" sldId="2147483671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4003740012" sldId="2147483672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3446958211" sldId="2147483673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1276912988" sldId="2147483674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1634750569" sldId="2147483675"/>
          </pc:sldLayoutMkLst>
        </pc:sldLayoutChg>
        <pc:sldLayoutChg chg="del">
          <pc:chgData name="Ann-Marie Carrey" userId="f9afc4aa67827740" providerId="LiveId" clId="{89FC2E44-86AF-4521-902E-CA8F8113BB76}" dt="2026-07-02T08:09:59.202" v="2" actId="2696"/>
          <pc:sldLayoutMkLst>
            <pc:docMk/>
            <pc:sldMasterMk cId="1309362835" sldId="2147483660"/>
            <pc:sldLayoutMk cId="2615938847" sldId="2147483676"/>
          </pc:sldLayoutMkLst>
        </pc:sldLayoutChg>
      </pc:sldMasterChg>
    </pc:docChg>
  </pc:docChgLst>
  <pc:docChgLst>
    <pc:chgData name="Ingrid Cruickshank" userId="5a5f459abdc2fb5c" providerId="LiveId" clId="{235A252F-ADF7-4EB3-AC49-03FD09E1C522}"/>
    <pc:docChg chg="undo custSel addSld delSld addMainMaster delMainMaster delSection modSection">
      <pc:chgData name="Ingrid Cruickshank" userId="5a5f459abdc2fb5c" providerId="LiveId" clId="{235A252F-ADF7-4EB3-AC49-03FD09E1C522}" dt="2026-06-30T11:58:30.632" v="47" actId="17851"/>
      <pc:docMkLst>
        <pc:docMk/>
      </pc:docMkLst>
      <pc:sldChg chg="add del">
        <pc:chgData name="Ingrid Cruickshank" userId="5a5f459abdc2fb5c" providerId="LiveId" clId="{235A252F-ADF7-4EB3-AC49-03FD09E1C522}" dt="2026-06-30T11:57:49.871" v="20" actId="47"/>
        <pc:sldMkLst>
          <pc:docMk/>
          <pc:sldMk cId="2219798921" sldId="898"/>
        </pc:sldMkLst>
      </pc:sldChg>
      <pc:sldChg chg="add del">
        <pc:chgData name="Ingrid Cruickshank" userId="5a5f459abdc2fb5c" providerId="LiveId" clId="{235A252F-ADF7-4EB3-AC49-03FD09E1C522}" dt="2026-06-30T11:57:49.278" v="19" actId="47"/>
        <pc:sldMkLst>
          <pc:docMk/>
          <pc:sldMk cId="428595023" sldId="89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F8E4AE-345A-44F9-876B-63B02C2E6453}" type="datetimeFigureOut">
              <a:rPr lang="en-GB" smtClean="0"/>
              <a:t>02/07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132931-A9A8-44EB-A315-FE64D2F6A7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828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C36781-0953-8142-933E-C9CBF99B1F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957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C36781-0953-8142-933E-C9CBF99B1F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957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8.jpeg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11.svg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13.svg"/><Relationship Id="rId10" Type="http://schemas.openxmlformats.org/officeDocument/2006/relationships/image" Target="../media/image17.jpeg"/><Relationship Id="rId4" Type="http://schemas.openxmlformats.org/officeDocument/2006/relationships/image" Target="../media/image2.emf"/><Relationship Id="rId9" Type="http://schemas.openxmlformats.org/officeDocument/2006/relationships/image" Target="../media/image16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18.sv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8.jpeg"/><Relationship Id="rId5" Type="http://schemas.openxmlformats.org/officeDocument/2006/relationships/image" Target="../media/image9.jpeg"/><Relationship Id="rId10" Type="http://schemas.openxmlformats.org/officeDocument/2006/relationships/image" Target="../media/image21.svg"/><Relationship Id="rId4" Type="http://schemas.openxmlformats.org/officeDocument/2006/relationships/image" Target="../media/image2.emf"/><Relationship Id="rId9" Type="http://schemas.openxmlformats.org/officeDocument/2006/relationships/image" Target="../media/image2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7.svg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22.svg"/><Relationship Id="rId5" Type="http://schemas.openxmlformats.org/officeDocument/2006/relationships/image" Target="../media/image23.jpe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23.jpeg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22.svg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7.svg"/><Relationship Id="rId5" Type="http://schemas.openxmlformats.org/officeDocument/2006/relationships/image" Target="../media/image28.jpeg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7.svg"/><Relationship Id="rId5" Type="http://schemas.openxmlformats.org/officeDocument/2006/relationships/image" Target="../media/image29.jpeg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7.svg"/><Relationship Id="rId5" Type="http://schemas.openxmlformats.org/officeDocument/2006/relationships/image" Target="../media/image30.jpeg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31.jpeg"/><Relationship Id="rId5" Type="http://schemas.openxmlformats.org/officeDocument/2006/relationships/image" Target="../media/image7.svg"/><Relationship Id="rId4" Type="http://schemas.openxmlformats.org/officeDocument/2006/relationships/image" Target="../media/image2.emf"/><Relationship Id="rId9" Type="http://schemas.openxmlformats.org/officeDocument/2006/relationships/image" Target="../media/image27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6" Type="http://schemas.openxmlformats.org/officeDocument/2006/relationships/image" Target="../media/image12.jpeg"/><Relationship Id="rId5" Type="http://schemas.openxmlformats.org/officeDocument/2006/relationships/image" Target="../media/image7.sv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7.sv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33.jpeg"/><Relationship Id="rId5" Type="http://schemas.openxmlformats.org/officeDocument/2006/relationships/image" Target="../media/image32.sv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3.sv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5" Type="http://schemas.openxmlformats.org/officeDocument/2006/relationships/image" Target="../media/image38.svg"/><Relationship Id="rId4" Type="http://schemas.openxmlformats.org/officeDocument/2006/relationships/image" Target="../media/image37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5" Type="http://schemas.openxmlformats.org/officeDocument/2006/relationships/image" Target="../media/image7.svg"/><Relationship Id="rId4" Type="http://schemas.openxmlformats.org/officeDocument/2006/relationships/image" Target="../media/image37.emf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sv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5" Type="http://schemas.openxmlformats.org/officeDocument/2006/relationships/image" Target="../media/image43.svg"/><Relationship Id="rId4" Type="http://schemas.openxmlformats.org/officeDocument/2006/relationships/image" Target="../media/image44.emf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sv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359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917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92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8672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0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216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181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12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895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AF276-E5CE-7E86-B5FE-74A88341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16091B-AA27-CFD1-C9C2-C55F9CD3BC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5E2976-A795-9CB8-5F43-7769D1520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1A42EB-55D4-17C2-D58E-D9A38C2AA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848E10-6500-5BEA-93A9-8E082A323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9664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1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067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C8F8E4AD-69DF-58FE-0B96-906A5A61D577}"/>
              </a:ext>
            </a:extLst>
          </p:cNvPr>
          <p:cNvSpPr/>
          <p:nvPr userDrawn="1"/>
        </p:nvSpPr>
        <p:spPr>
          <a:xfrm>
            <a:off x="0" y="0"/>
            <a:ext cx="6721812" cy="6858000"/>
          </a:xfrm>
          <a:custGeom>
            <a:avLst/>
            <a:gdLst>
              <a:gd name="connsiteX0" fmla="*/ 0 w 6721812"/>
              <a:gd name="connsiteY0" fmla="*/ 0 h 6858000"/>
              <a:gd name="connsiteX1" fmla="*/ 3292812 w 6721812"/>
              <a:gd name="connsiteY1" fmla="*/ 0 h 6858000"/>
              <a:gd name="connsiteX2" fmla="*/ 6721812 w 6721812"/>
              <a:gd name="connsiteY2" fmla="*/ 3429000 h 6858000"/>
              <a:gd name="connsiteX3" fmla="*/ 3292812 w 6721812"/>
              <a:gd name="connsiteY3" fmla="*/ 6858000 h 6858000"/>
              <a:gd name="connsiteX4" fmla="*/ 0 w 67218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1812" h="6858000">
                <a:moveTo>
                  <a:pt x="0" y="0"/>
                </a:moveTo>
                <a:lnTo>
                  <a:pt x="3292812" y="0"/>
                </a:lnTo>
                <a:cubicBezTo>
                  <a:pt x="5186596" y="0"/>
                  <a:pt x="6721812" y="1535216"/>
                  <a:pt x="6721812" y="3429000"/>
                </a:cubicBezTo>
                <a:cubicBezTo>
                  <a:pt x="6721812" y="5322784"/>
                  <a:pt x="5186596" y="6858000"/>
                  <a:pt x="3292812" y="6858000"/>
                </a:cubicBezTo>
                <a:lnTo>
                  <a:pt x="0" y="6858000"/>
                </a:lnTo>
                <a:close/>
              </a:path>
            </a:pathLst>
          </a:cu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4B04B80-80CE-36B4-5E68-7C5247F8CDE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0042" y="611533"/>
            <a:ext cx="2212298" cy="399963"/>
          </a:xfrm>
          <a:prstGeom prst="rect">
            <a:avLst/>
          </a:prstGeom>
        </p:spPr>
      </p:pic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E633C580-0093-922F-AB79-1F914A1574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69" y="4513255"/>
            <a:ext cx="4617521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rgbClr val="00CCFF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19B719F-790C-1D24-3B52-3CAD939B0C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69" y="2292059"/>
            <a:ext cx="5578912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73AE45F-3592-3C42-FFE9-84090A2D68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17748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rgbClr val="00CC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EE512E-9360-9E00-6B81-4F648325B9E9}"/>
              </a:ext>
            </a:extLst>
          </p:cNvPr>
          <p:cNvSpPr txBox="1"/>
          <p:nvPr userDrawn="1"/>
        </p:nvSpPr>
        <p:spPr bwMode="black">
          <a:xfrm>
            <a:off x="560269" y="6458393"/>
            <a:ext cx="7722832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the United States, the European Union, and various other countries. 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ABDF996A-067F-C41E-7B0E-6CA1AB5BF3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165812" y="0"/>
            <a:ext cx="9026188" cy="6858000"/>
          </a:xfrm>
          <a:custGeom>
            <a:avLst/>
            <a:gdLst>
              <a:gd name="connsiteX0" fmla="*/ 0 w 9026188"/>
              <a:gd name="connsiteY0" fmla="*/ 0 h 6858000"/>
              <a:gd name="connsiteX1" fmla="*/ 9026188 w 9026188"/>
              <a:gd name="connsiteY1" fmla="*/ 0 h 6858000"/>
              <a:gd name="connsiteX2" fmla="*/ 9026188 w 9026188"/>
              <a:gd name="connsiteY2" fmla="*/ 6858000 h 6858000"/>
              <a:gd name="connsiteX3" fmla="*/ 0 w 9026188"/>
              <a:gd name="connsiteY3" fmla="*/ 6858000 h 6858000"/>
              <a:gd name="connsiteX4" fmla="*/ 3429000 w 9026188"/>
              <a:gd name="connsiteY4" fmla="*/ 3429000 h 6858000"/>
              <a:gd name="connsiteX5" fmla="*/ 0 w 9026188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26188" h="6858000">
                <a:moveTo>
                  <a:pt x="0" y="0"/>
                </a:moveTo>
                <a:lnTo>
                  <a:pt x="9026188" y="0"/>
                </a:lnTo>
                <a:lnTo>
                  <a:pt x="9026188" y="6858000"/>
                </a:lnTo>
                <a:lnTo>
                  <a:pt x="0" y="6858000"/>
                </a:lnTo>
                <a:cubicBezTo>
                  <a:pt x="1893784" y="6858000"/>
                  <a:pt x="3429000" y="5322784"/>
                  <a:pt x="3429000" y="3429000"/>
                </a:cubicBezTo>
                <a:cubicBezTo>
                  <a:pt x="3429000" y="1535216"/>
                  <a:pt x="1893784" y="0"/>
                  <a:pt x="0" y="0"/>
                </a:cubicBez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 wrap="square" lIns="3566160" anchor="ctr">
            <a:noAutofit/>
          </a:bodyPr>
          <a:lstStyle>
            <a:lvl1pPr marL="0" indent="0" algn="ctr">
              <a:buNone/>
              <a:defRPr sz="18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8A32BA-45AE-C130-28F4-09992A9871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9" y="5680710"/>
            <a:ext cx="4617521" cy="5070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8457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0441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818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72F88DAF-07DE-80FF-028B-5A5FF467DA0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C8F8E4AD-69DF-58FE-0B96-906A5A61D577}"/>
              </a:ext>
            </a:extLst>
          </p:cNvPr>
          <p:cNvSpPr/>
          <p:nvPr userDrawn="1"/>
        </p:nvSpPr>
        <p:spPr>
          <a:xfrm>
            <a:off x="0" y="0"/>
            <a:ext cx="6721812" cy="6858000"/>
          </a:xfrm>
          <a:custGeom>
            <a:avLst/>
            <a:gdLst>
              <a:gd name="connsiteX0" fmla="*/ 0 w 6721812"/>
              <a:gd name="connsiteY0" fmla="*/ 0 h 6858000"/>
              <a:gd name="connsiteX1" fmla="*/ 3292812 w 6721812"/>
              <a:gd name="connsiteY1" fmla="*/ 0 h 6858000"/>
              <a:gd name="connsiteX2" fmla="*/ 6721812 w 6721812"/>
              <a:gd name="connsiteY2" fmla="*/ 3429000 h 6858000"/>
              <a:gd name="connsiteX3" fmla="*/ 3292812 w 6721812"/>
              <a:gd name="connsiteY3" fmla="*/ 6858000 h 6858000"/>
              <a:gd name="connsiteX4" fmla="*/ 0 w 67218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1812" h="6858000">
                <a:moveTo>
                  <a:pt x="0" y="0"/>
                </a:moveTo>
                <a:lnTo>
                  <a:pt x="3292812" y="0"/>
                </a:lnTo>
                <a:cubicBezTo>
                  <a:pt x="5186596" y="0"/>
                  <a:pt x="6721812" y="1535216"/>
                  <a:pt x="6721812" y="3429000"/>
                </a:cubicBezTo>
                <a:cubicBezTo>
                  <a:pt x="6721812" y="5322784"/>
                  <a:pt x="5186596" y="6858000"/>
                  <a:pt x="3292812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4B04B80-80CE-36B4-5E68-7C5247F8CDE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60095" y="611533"/>
            <a:ext cx="2212298" cy="399963"/>
          </a:xfrm>
          <a:prstGeom prst="rect">
            <a:avLst/>
          </a:prstGeom>
        </p:spPr>
      </p:pic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E633C580-0093-922F-AB79-1F914A1574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69" y="4513255"/>
            <a:ext cx="4617521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19B719F-790C-1D24-3B52-3CAD939B0C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69" y="2292059"/>
            <a:ext cx="5578912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73AE45F-3592-3C42-FFE9-84090A2D68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17748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EE512E-9360-9E00-6B81-4F648325B9E9}"/>
              </a:ext>
            </a:extLst>
          </p:cNvPr>
          <p:cNvSpPr txBox="1"/>
          <p:nvPr userDrawn="1"/>
        </p:nvSpPr>
        <p:spPr bwMode="black">
          <a:xfrm>
            <a:off x="560269" y="6458393"/>
            <a:ext cx="7722832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the United States, the European Union, and various other countries. 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B0524C2-AB74-83EE-C93A-A95B62225B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67412" y="0"/>
            <a:ext cx="6434847" cy="6858000"/>
          </a:xfrm>
          <a:custGeom>
            <a:avLst/>
            <a:gdLst>
              <a:gd name="connsiteX0" fmla="*/ 0 w 6434847"/>
              <a:gd name="connsiteY0" fmla="*/ 0 h 6858000"/>
              <a:gd name="connsiteX1" fmla="*/ 3005847 w 6434847"/>
              <a:gd name="connsiteY1" fmla="*/ 0 h 6858000"/>
              <a:gd name="connsiteX2" fmla="*/ 6434847 w 6434847"/>
              <a:gd name="connsiteY2" fmla="*/ 3429000 h 6858000"/>
              <a:gd name="connsiteX3" fmla="*/ 3005847 w 6434847"/>
              <a:gd name="connsiteY3" fmla="*/ 6858000 h 6858000"/>
              <a:gd name="connsiteX4" fmla="*/ 0 w 6434847"/>
              <a:gd name="connsiteY4" fmla="*/ 6858000 h 6858000"/>
              <a:gd name="connsiteX5" fmla="*/ 3429000 w 6434847"/>
              <a:gd name="connsiteY5" fmla="*/ 3429000 h 6858000"/>
              <a:gd name="connsiteX6" fmla="*/ 0 w 643484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34847" h="6858000">
                <a:moveTo>
                  <a:pt x="0" y="0"/>
                </a:moveTo>
                <a:lnTo>
                  <a:pt x="3005847" y="0"/>
                </a:lnTo>
                <a:cubicBezTo>
                  <a:pt x="4899631" y="0"/>
                  <a:pt x="6434847" y="1535216"/>
                  <a:pt x="6434847" y="3429000"/>
                </a:cubicBezTo>
                <a:cubicBezTo>
                  <a:pt x="6434847" y="5322784"/>
                  <a:pt x="4899631" y="6858000"/>
                  <a:pt x="3005847" y="6858000"/>
                </a:cubicBezTo>
                <a:lnTo>
                  <a:pt x="0" y="6858000"/>
                </a:lnTo>
                <a:cubicBezTo>
                  <a:pt x="1893784" y="6858000"/>
                  <a:pt x="3429000" y="5322784"/>
                  <a:pt x="3429000" y="3429000"/>
                </a:cubicBezTo>
                <a:cubicBezTo>
                  <a:pt x="3429000" y="1535216"/>
                  <a:pt x="1893784" y="0"/>
                  <a:pt x="0" y="0"/>
                </a:cubicBez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 wrap="square" lIns="3749040" anchor="ctr">
            <a:noAutofit/>
          </a:bodyPr>
          <a:lstStyle>
            <a:lvl1pPr marL="0" indent="0" algn="r">
              <a:buNone/>
              <a:defRPr lang="en-US" sz="1800" b="1" kern="1200" dirty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C55EDFF-03EC-F7FE-A5CE-E9171F0FDE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9" y="5680710"/>
            <a:ext cx="4617521" cy="5070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6216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3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41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149D81-FD4B-DC76-CAF0-EE426536C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198473" y="2"/>
            <a:ext cx="4993529" cy="6857999"/>
          </a:xfrm>
          <a:custGeom>
            <a:avLst/>
            <a:gdLst>
              <a:gd name="connsiteX0" fmla="*/ 1703159 w 4993529"/>
              <a:gd name="connsiteY0" fmla="*/ 0 h 6857999"/>
              <a:gd name="connsiteX1" fmla="*/ 4993529 w 4993529"/>
              <a:gd name="connsiteY1" fmla="*/ 0 h 6857999"/>
              <a:gd name="connsiteX2" fmla="*/ 4993529 w 4993529"/>
              <a:gd name="connsiteY2" fmla="*/ 6857999 h 6857999"/>
              <a:gd name="connsiteX3" fmla="*/ 1703166 w 4993529"/>
              <a:gd name="connsiteY3" fmla="*/ 6857999 h 6857999"/>
              <a:gd name="connsiteX4" fmla="*/ 1566432 w 4993529"/>
              <a:gd name="connsiteY4" fmla="*/ 6750547 h 6857999"/>
              <a:gd name="connsiteX5" fmla="*/ 0 w 4993529"/>
              <a:gd name="connsiteY5" fmla="*/ 3428996 h 6857999"/>
              <a:gd name="connsiteX6" fmla="*/ 1566433 w 4993529"/>
              <a:gd name="connsiteY6" fmla="*/ 10744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93529" h="6857999">
                <a:moveTo>
                  <a:pt x="1703159" y="0"/>
                </a:moveTo>
                <a:lnTo>
                  <a:pt x="4993529" y="0"/>
                </a:lnTo>
                <a:lnTo>
                  <a:pt x="4993529" y="6857999"/>
                </a:lnTo>
                <a:lnTo>
                  <a:pt x="1703166" y="6857999"/>
                </a:lnTo>
                <a:lnTo>
                  <a:pt x="1566432" y="6750547"/>
                </a:lnTo>
                <a:cubicBezTo>
                  <a:pt x="609773" y="5961041"/>
                  <a:pt x="0" y="4766229"/>
                  <a:pt x="0" y="3428996"/>
                </a:cubicBezTo>
                <a:cubicBezTo>
                  <a:pt x="1" y="2091763"/>
                  <a:pt x="609775" y="896951"/>
                  <a:pt x="1566433" y="107445"/>
                </a:cubicBez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 wrap="square" lIns="91440" anchor="ctr">
            <a:noAutofit/>
          </a:bodyPr>
          <a:lstStyle>
            <a:lvl1pPr marL="0" indent="0" algn="ctr">
              <a:buNone/>
              <a:defRPr sz="18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E633C580-0093-922F-AB79-1F914A1574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68" y="3669831"/>
            <a:ext cx="5578912" cy="9549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19B719F-790C-1D24-3B52-3CAD939B0C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69" y="1469099"/>
            <a:ext cx="5578912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73AE45F-3592-3C42-FFE9-84090A2D68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83229" y="83754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734FFF4D-C595-1C02-3284-439FA4259BB6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0042" y="5757573"/>
            <a:ext cx="2212298" cy="39996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5D16DF4-1248-421F-6EC8-178149D3D334}"/>
              </a:ext>
            </a:extLst>
          </p:cNvPr>
          <p:cNvSpPr txBox="1"/>
          <p:nvPr userDrawn="1"/>
        </p:nvSpPr>
        <p:spPr bwMode="black">
          <a:xfrm>
            <a:off x="56026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0A5D0DDA-43DE-B7ED-926F-B2A9412B7D7B}"/>
              </a:ext>
            </a:extLst>
          </p:cNvPr>
          <p:cNvSpPr/>
          <p:nvPr userDrawn="1"/>
        </p:nvSpPr>
        <p:spPr>
          <a:xfrm rot="5400000">
            <a:off x="361950" y="349250"/>
            <a:ext cx="551180" cy="12750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840BC821-F126-C42A-9321-67F78D8191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8" y="4736677"/>
            <a:ext cx="5578912" cy="5070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18679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448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ADE7A219-BFB8-A500-5B97-DA711CAAB05D}"/>
              </a:ext>
            </a:extLst>
          </p:cNvPr>
          <p:cNvSpPr/>
          <p:nvPr userDrawn="1"/>
        </p:nvSpPr>
        <p:spPr>
          <a:xfrm>
            <a:off x="-2" y="-1"/>
            <a:ext cx="12192000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19B719F-790C-1D24-3B52-3CAD939B0C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69" y="1185957"/>
            <a:ext cx="5198505" cy="2088828"/>
          </a:xfrm>
          <a:prstGeom prst="rect">
            <a:avLst/>
          </a:prstGeom>
        </p:spPr>
        <p:txBody>
          <a:bodyPr vert="horz" anchor="t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</a:t>
            </a:r>
            <a:br>
              <a:rPr lang="en-US"/>
            </a:br>
            <a:r>
              <a:rPr lang="en-US"/>
              <a:t>Noto Sans Light Title Cas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73AE45F-3592-3C42-FFE9-84090A2D68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5683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53F45A5-691A-331A-0A5E-EF9DC3E5E9D0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0042" y="5757573"/>
            <a:ext cx="2212298" cy="399963"/>
          </a:xfrm>
          <a:prstGeom prst="rect">
            <a:avLst/>
          </a:prstGeom>
        </p:spPr>
      </p:pic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90F88C9-134E-565F-6E26-6417D9962BB5}"/>
              </a:ext>
            </a:extLst>
          </p:cNvPr>
          <p:cNvSpPr/>
          <p:nvPr userDrawn="1"/>
        </p:nvSpPr>
        <p:spPr>
          <a:xfrm rot="5400000">
            <a:off x="1858678" y="1846115"/>
            <a:ext cx="1127091" cy="48444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E633C580-0093-922F-AB79-1F914A1574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69" y="3696104"/>
            <a:ext cx="4187369" cy="113979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40A9D05-7CC8-8C49-7E62-59B4C4A868DE}"/>
              </a:ext>
            </a:extLst>
          </p:cNvPr>
          <p:cNvSpPr txBox="1"/>
          <p:nvPr userDrawn="1"/>
        </p:nvSpPr>
        <p:spPr bwMode="black">
          <a:xfrm>
            <a:off x="560269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236EA6A8-471B-A5CE-D31B-50ED62AD5F2C}"/>
              </a:ext>
            </a:extLst>
          </p:cNvPr>
          <p:cNvSpPr/>
          <p:nvPr userDrawn="1"/>
        </p:nvSpPr>
        <p:spPr>
          <a:xfrm>
            <a:off x="11385549" y="2754630"/>
            <a:ext cx="806451" cy="1520190"/>
          </a:xfrm>
          <a:custGeom>
            <a:avLst/>
            <a:gdLst>
              <a:gd name="connsiteX0" fmla="*/ 760095 w 806451"/>
              <a:gd name="connsiteY0" fmla="*/ 0 h 1520190"/>
              <a:gd name="connsiteX1" fmla="*/ 806451 w 806451"/>
              <a:gd name="connsiteY1" fmla="*/ 0 h 1520190"/>
              <a:gd name="connsiteX2" fmla="*/ 806451 w 806451"/>
              <a:gd name="connsiteY2" fmla="*/ 1520190 h 1520190"/>
              <a:gd name="connsiteX3" fmla="*/ 760095 w 806451"/>
              <a:gd name="connsiteY3" fmla="*/ 1520190 h 1520190"/>
              <a:gd name="connsiteX4" fmla="*/ 0 w 806451"/>
              <a:gd name="connsiteY4" fmla="*/ 760095 h 1520190"/>
              <a:gd name="connsiteX5" fmla="*/ 760095 w 806451"/>
              <a:gd name="connsiteY5" fmla="*/ 0 h 1520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6451" h="1520190">
                <a:moveTo>
                  <a:pt x="760095" y="0"/>
                </a:moveTo>
                <a:lnTo>
                  <a:pt x="806451" y="0"/>
                </a:lnTo>
                <a:lnTo>
                  <a:pt x="806451" y="1520190"/>
                </a:lnTo>
                <a:lnTo>
                  <a:pt x="760095" y="1520190"/>
                </a:lnTo>
                <a:cubicBezTo>
                  <a:pt x="340306" y="1520190"/>
                  <a:pt x="0" y="1179884"/>
                  <a:pt x="0" y="760095"/>
                </a:cubicBezTo>
                <a:cubicBezTo>
                  <a:pt x="0" y="340306"/>
                  <a:pt x="340306" y="0"/>
                  <a:pt x="760095" y="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AB1090A-172E-249E-20D1-9ED6F9778154}"/>
              </a:ext>
            </a:extLst>
          </p:cNvPr>
          <p:cNvSpPr/>
          <p:nvPr userDrawn="1"/>
        </p:nvSpPr>
        <p:spPr>
          <a:xfrm>
            <a:off x="8154670" y="3101975"/>
            <a:ext cx="825500" cy="825500"/>
          </a:xfrm>
          <a:prstGeom prst="ellipse">
            <a:avLst/>
          </a:prstGeom>
          <a:noFill/>
          <a:ln w="19050">
            <a:solidFill>
              <a:srgbClr val="00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78834BD-6122-8897-155C-7D8AAA482567}"/>
              </a:ext>
            </a:extLst>
          </p:cNvPr>
          <p:cNvSpPr/>
          <p:nvPr userDrawn="1"/>
        </p:nvSpPr>
        <p:spPr>
          <a:xfrm>
            <a:off x="5938520" y="882316"/>
            <a:ext cx="2494280" cy="963930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00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536A388-F38A-423D-0271-552744C160CC}"/>
              </a:ext>
            </a:extLst>
          </p:cNvPr>
          <p:cNvSpPr/>
          <p:nvPr userDrawn="1"/>
        </p:nvSpPr>
        <p:spPr>
          <a:xfrm>
            <a:off x="10173970" y="5084778"/>
            <a:ext cx="2018031" cy="782320"/>
          </a:xfrm>
          <a:custGeom>
            <a:avLst/>
            <a:gdLst>
              <a:gd name="connsiteX0" fmla="*/ 391160 w 2018031"/>
              <a:gd name="connsiteY0" fmla="*/ 0 h 782320"/>
              <a:gd name="connsiteX1" fmla="*/ 2018031 w 2018031"/>
              <a:gd name="connsiteY1" fmla="*/ 0 h 782320"/>
              <a:gd name="connsiteX2" fmla="*/ 2018031 w 2018031"/>
              <a:gd name="connsiteY2" fmla="*/ 782320 h 782320"/>
              <a:gd name="connsiteX3" fmla="*/ 391160 w 2018031"/>
              <a:gd name="connsiteY3" fmla="*/ 782320 h 782320"/>
              <a:gd name="connsiteX4" fmla="*/ 0 w 2018031"/>
              <a:gd name="connsiteY4" fmla="*/ 391160 h 782320"/>
              <a:gd name="connsiteX5" fmla="*/ 391160 w 2018031"/>
              <a:gd name="connsiteY5" fmla="*/ 0 h 782320"/>
              <a:gd name="connsiteX0" fmla="*/ 2018031 w 2109471"/>
              <a:gd name="connsiteY0" fmla="*/ 782320 h 873760"/>
              <a:gd name="connsiteX1" fmla="*/ 391160 w 2109471"/>
              <a:gd name="connsiteY1" fmla="*/ 782320 h 873760"/>
              <a:gd name="connsiteX2" fmla="*/ 0 w 2109471"/>
              <a:gd name="connsiteY2" fmla="*/ 391160 h 873760"/>
              <a:gd name="connsiteX3" fmla="*/ 391160 w 2109471"/>
              <a:gd name="connsiteY3" fmla="*/ 0 h 873760"/>
              <a:gd name="connsiteX4" fmla="*/ 2018031 w 2109471"/>
              <a:gd name="connsiteY4" fmla="*/ 0 h 873760"/>
              <a:gd name="connsiteX5" fmla="*/ 2109471 w 2109471"/>
              <a:gd name="connsiteY5" fmla="*/ 873760 h 873760"/>
              <a:gd name="connsiteX0" fmla="*/ 2018031 w 2018031"/>
              <a:gd name="connsiteY0" fmla="*/ 782320 h 782320"/>
              <a:gd name="connsiteX1" fmla="*/ 391160 w 2018031"/>
              <a:gd name="connsiteY1" fmla="*/ 782320 h 782320"/>
              <a:gd name="connsiteX2" fmla="*/ 0 w 2018031"/>
              <a:gd name="connsiteY2" fmla="*/ 391160 h 782320"/>
              <a:gd name="connsiteX3" fmla="*/ 391160 w 2018031"/>
              <a:gd name="connsiteY3" fmla="*/ 0 h 782320"/>
              <a:gd name="connsiteX4" fmla="*/ 2018031 w 2018031"/>
              <a:gd name="connsiteY4" fmla="*/ 0 h 78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8031" h="782320">
                <a:moveTo>
                  <a:pt x="2018031" y="782320"/>
                </a:moveTo>
                <a:lnTo>
                  <a:pt x="391160" y="782320"/>
                </a:lnTo>
                <a:cubicBezTo>
                  <a:pt x="175128" y="782320"/>
                  <a:pt x="0" y="607192"/>
                  <a:pt x="0" y="391160"/>
                </a:cubicBezTo>
                <a:cubicBezTo>
                  <a:pt x="0" y="175128"/>
                  <a:pt x="175128" y="0"/>
                  <a:pt x="391160" y="0"/>
                </a:cubicBezTo>
                <a:lnTo>
                  <a:pt x="2018031" y="0"/>
                </a:lnTo>
              </a:path>
            </a:pathLst>
          </a:custGeom>
          <a:noFill/>
          <a:ln w="19050">
            <a:solidFill>
              <a:srgbClr val="00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4B3972EC-C773-5A43-FB97-099CB4BCD3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22975" y="4600908"/>
            <a:ext cx="3600449" cy="1750060"/>
          </a:xfrm>
          <a:prstGeom prst="roundRect">
            <a:avLst>
              <a:gd name="adj" fmla="val 50000"/>
            </a:avLst>
          </a:prstGeom>
          <a:blipFill>
            <a:blip r:embed="rId6">
              <a:alphaModFix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1C08761-BCFD-2804-56C5-147560B2751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511025" y="2779604"/>
            <a:ext cx="1470242" cy="14702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</p:spPr>
        <p:txBody>
          <a:bodyPr wrap="non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1" kern="1200" dirty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imag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93C421-0BFF-D458-4C46-91C277AFC2F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569200" y="488950"/>
            <a:ext cx="3587750" cy="1750662"/>
          </a:xfrm>
          <a:custGeom>
            <a:avLst/>
            <a:gdLst>
              <a:gd name="connsiteX0" fmla="*/ 875331 w 3587750"/>
              <a:gd name="connsiteY0" fmla="*/ 0 h 1750662"/>
              <a:gd name="connsiteX1" fmla="*/ 2712419 w 3587750"/>
              <a:gd name="connsiteY1" fmla="*/ 0 h 1750662"/>
              <a:gd name="connsiteX2" fmla="*/ 3587750 w 3587750"/>
              <a:gd name="connsiteY2" fmla="*/ 875331 h 1750662"/>
              <a:gd name="connsiteX3" fmla="*/ 2712419 w 3587750"/>
              <a:gd name="connsiteY3" fmla="*/ 1750662 h 1750662"/>
              <a:gd name="connsiteX4" fmla="*/ 875331 w 3587750"/>
              <a:gd name="connsiteY4" fmla="*/ 1750662 h 1750662"/>
              <a:gd name="connsiteX5" fmla="*/ 0 w 3587750"/>
              <a:gd name="connsiteY5" fmla="*/ 875331 h 1750662"/>
              <a:gd name="connsiteX6" fmla="*/ 875331 w 3587750"/>
              <a:gd name="connsiteY6" fmla="*/ 0 h 1750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7750" h="1750662">
                <a:moveTo>
                  <a:pt x="875331" y="0"/>
                </a:moveTo>
                <a:lnTo>
                  <a:pt x="2712419" y="0"/>
                </a:lnTo>
                <a:cubicBezTo>
                  <a:pt x="3195851" y="0"/>
                  <a:pt x="3587750" y="391899"/>
                  <a:pt x="3587750" y="875331"/>
                </a:cubicBezTo>
                <a:cubicBezTo>
                  <a:pt x="3587750" y="1358763"/>
                  <a:pt x="3195851" y="1750662"/>
                  <a:pt x="2712419" y="1750662"/>
                </a:cubicBezTo>
                <a:lnTo>
                  <a:pt x="875331" y="1750662"/>
                </a:lnTo>
                <a:cubicBezTo>
                  <a:pt x="391899" y="1750662"/>
                  <a:pt x="0" y="1358763"/>
                  <a:pt x="0" y="875331"/>
                </a:cubicBezTo>
                <a:cubicBezTo>
                  <a:pt x="0" y="391899"/>
                  <a:pt x="391899" y="0"/>
                  <a:pt x="875331" y="0"/>
                </a:cubicBez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 wrap="square" lIns="91440" anchor="ctr">
            <a:noAutofit/>
          </a:bodyPr>
          <a:lstStyle>
            <a:lvl1pPr marL="0" indent="0" algn="ctr">
              <a:buNone/>
              <a:defRPr sz="18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410DB0DD-3550-AA3A-3964-0928F4F142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9" y="4908128"/>
            <a:ext cx="4187369" cy="3857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2850644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111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2EF3D7E1-E5A6-9F41-9CF8-AAAEB02D2F1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FB796EA-5FE4-C00B-C632-B6DD2037CA9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60095" y="611533"/>
            <a:ext cx="2212298" cy="399963"/>
          </a:xfrm>
          <a:prstGeom prst="rect">
            <a:avLst/>
          </a:prstGeom>
        </p:spPr>
      </p:pic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12F89F06-2842-6C78-F8B9-DF481DE161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8369" y="4545429"/>
            <a:ext cx="4849931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rgbClr val="00CCFF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09011B2-930B-2726-A34F-9595F38F67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369" y="2283169"/>
            <a:ext cx="4849931" cy="2088828"/>
          </a:xfrm>
          <a:prstGeom prst="rect">
            <a:avLst/>
          </a:prstGeom>
        </p:spPr>
        <p:txBody>
          <a:bodyPr vert="horz" anchor="t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17DEC49-9F6E-FEDD-D9A7-746572D694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369" y="174051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rgbClr val="00CC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4FBDBE-CB0C-FA03-27E9-222DD602C14A}"/>
              </a:ext>
            </a:extLst>
          </p:cNvPr>
          <p:cNvSpPr txBox="1"/>
          <p:nvPr userDrawn="1"/>
        </p:nvSpPr>
        <p:spPr bwMode="black">
          <a:xfrm>
            <a:off x="407546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787C3C-B50B-409B-D239-AC6FD72699C3}"/>
              </a:ext>
            </a:extLst>
          </p:cNvPr>
          <p:cNvGrpSpPr/>
          <p:nvPr userDrawn="1"/>
        </p:nvGrpSpPr>
        <p:grpSpPr>
          <a:xfrm>
            <a:off x="-5079" y="0"/>
            <a:ext cx="6333420" cy="6858000"/>
            <a:chOff x="16581" y="0"/>
            <a:chExt cx="6333420" cy="6858000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C25A6BEA-005B-9875-2AE7-6D57A7F0472B}"/>
                </a:ext>
              </a:extLst>
            </p:cNvPr>
            <p:cNvSpPr/>
            <p:nvPr userDrawn="1"/>
          </p:nvSpPr>
          <p:spPr>
            <a:xfrm rot="5400000">
              <a:off x="5116" y="2759744"/>
              <a:ext cx="4114800" cy="408171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6DFBA484-25CD-1779-3A38-65ED15CCD6D6}"/>
                </a:ext>
              </a:extLst>
            </p:cNvPr>
            <p:cNvSpPr/>
            <p:nvPr userDrawn="1"/>
          </p:nvSpPr>
          <p:spPr>
            <a:xfrm>
              <a:off x="21660" y="0"/>
              <a:ext cx="6328341" cy="5552111"/>
            </a:xfrm>
            <a:custGeom>
              <a:avLst/>
              <a:gdLst>
                <a:gd name="connsiteX0" fmla="*/ 0 w 6328341"/>
                <a:gd name="connsiteY0" fmla="*/ 0 h 5552111"/>
                <a:gd name="connsiteX1" fmla="*/ 6328341 w 6328341"/>
                <a:gd name="connsiteY1" fmla="*/ 0 h 5552111"/>
                <a:gd name="connsiteX2" fmla="*/ 6328341 w 6328341"/>
                <a:gd name="connsiteY2" fmla="*/ 2377111 h 5552111"/>
                <a:gd name="connsiteX3" fmla="*/ 3153341 w 6328341"/>
                <a:gd name="connsiteY3" fmla="*/ 5552111 h 5552111"/>
                <a:gd name="connsiteX4" fmla="*/ 42846 w 6328341"/>
                <a:gd name="connsiteY4" fmla="*/ 3016984 h 5552111"/>
                <a:gd name="connsiteX5" fmla="*/ 0 w 6328341"/>
                <a:gd name="connsiteY5" fmla="*/ 2736246 h 5552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28341" h="5552111">
                  <a:moveTo>
                    <a:pt x="0" y="0"/>
                  </a:moveTo>
                  <a:lnTo>
                    <a:pt x="6328341" y="0"/>
                  </a:lnTo>
                  <a:lnTo>
                    <a:pt x="6328341" y="2377111"/>
                  </a:lnTo>
                  <a:cubicBezTo>
                    <a:pt x="6328341" y="4130615"/>
                    <a:pt x="4906845" y="5552111"/>
                    <a:pt x="3153341" y="5552111"/>
                  </a:cubicBezTo>
                  <a:cubicBezTo>
                    <a:pt x="1619025" y="5552111"/>
                    <a:pt x="338903" y="4463778"/>
                    <a:pt x="42846" y="3016984"/>
                  </a:cubicBezTo>
                  <a:lnTo>
                    <a:pt x="0" y="2736246"/>
                  </a:lnTo>
                  <a:close/>
                </a:path>
              </a:pathLst>
            </a:custGeom>
            <a:gradFill>
              <a:gsLst>
                <a:gs pos="75000">
                  <a:srgbClr val="140A42"/>
                </a:gs>
                <a:gs pos="0">
                  <a:srgbClr val="00CCFF"/>
                </a:gs>
              </a:gsLst>
              <a:lin ang="135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F9BA332-9382-C19F-66FE-99AB2FD12525}"/>
                </a:ext>
              </a:extLst>
            </p:cNvPr>
            <p:cNvSpPr/>
            <p:nvPr userDrawn="1"/>
          </p:nvSpPr>
          <p:spPr>
            <a:xfrm rot="5400000">
              <a:off x="652981" y="2106800"/>
              <a:ext cx="2808911" cy="4081711"/>
            </a:xfrm>
            <a:custGeom>
              <a:avLst/>
              <a:gdLst>
                <a:gd name="connsiteX0" fmla="*/ 0 w 2808911"/>
                <a:gd name="connsiteY0" fmla="*/ 4081711 h 4081711"/>
                <a:gd name="connsiteX1" fmla="*/ 0 w 2808911"/>
                <a:gd name="connsiteY1" fmla="*/ 2051686 h 4081711"/>
                <a:gd name="connsiteX2" fmla="*/ 2051686 w 2808911"/>
                <a:gd name="connsiteY2" fmla="*/ 0 h 4081711"/>
                <a:gd name="connsiteX3" fmla="*/ 2063115 w 2808911"/>
                <a:gd name="connsiteY3" fmla="*/ 0 h 4081711"/>
                <a:gd name="connsiteX4" fmla="*/ 2673224 w 2808911"/>
                <a:gd name="connsiteY4" fmla="*/ 92240 h 4081711"/>
                <a:gd name="connsiteX5" fmla="*/ 2699582 w 2808911"/>
                <a:gd name="connsiteY5" fmla="*/ 101887 h 4081711"/>
                <a:gd name="connsiteX6" fmla="*/ 2708954 w 2808911"/>
                <a:gd name="connsiteY6" fmla="*/ 134890 h 4081711"/>
                <a:gd name="connsiteX7" fmla="*/ 2808911 w 2808911"/>
                <a:gd name="connsiteY7" fmla="*/ 928372 h 4081711"/>
                <a:gd name="connsiteX8" fmla="*/ 117432 w 2808911"/>
                <a:gd name="connsiteY8" fmla="*/ 4066789 h 4081711"/>
                <a:gd name="connsiteX9" fmla="*/ 0 w 2808911"/>
                <a:gd name="connsiteY9" fmla="*/ 4081711 h 408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8911" h="4081711">
                  <a:moveTo>
                    <a:pt x="0" y="4081711"/>
                  </a:moveTo>
                  <a:lnTo>
                    <a:pt x="0" y="2051686"/>
                  </a:lnTo>
                  <a:cubicBezTo>
                    <a:pt x="0" y="918571"/>
                    <a:pt x="918572" y="-1"/>
                    <a:pt x="2051686" y="0"/>
                  </a:cubicBezTo>
                  <a:lnTo>
                    <a:pt x="2063115" y="0"/>
                  </a:lnTo>
                  <a:cubicBezTo>
                    <a:pt x="2275574" y="0"/>
                    <a:pt x="2480491" y="32293"/>
                    <a:pt x="2673224" y="92240"/>
                  </a:cubicBezTo>
                  <a:lnTo>
                    <a:pt x="2699582" y="101887"/>
                  </a:lnTo>
                  <a:lnTo>
                    <a:pt x="2708954" y="134890"/>
                  </a:lnTo>
                  <a:cubicBezTo>
                    <a:pt x="2774207" y="388507"/>
                    <a:pt x="2808911" y="654387"/>
                    <a:pt x="2808911" y="928372"/>
                  </a:cubicBezTo>
                  <a:cubicBezTo>
                    <a:pt x="2808911" y="2517485"/>
                    <a:pt x="1641452" y="3833923"/>
                    <a:pt x="117432" y="4066789"/>
                  </a:cubicBezTo>
                  <a:lnTo>
                    <a:pt x="0" y="4081711"/>
                  </a:lnTo>
                  <a:close/>
                </a:path>
              </a:pathLst>
            </a:custGeom>
            <a:solidFill>
              <a:srgbClr val="00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</p:grp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4565F74-6607-D645-F5A7-0A5632621C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8369" y="5753948"/>
            <a:ext cx="4849931" cy="3857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22335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CCE057E2-8B7A-030D-538C-6C18EF6407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" y="241300"/>
            <a:ext cx="11868149" cy="6362699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3DF00FD-7F50-5F6A-0211-01F10C408F79}"/>
              </a:ext>
            </a:extLst>
          </p:cNvPr>
          <p:cNvSpPr/>
          <p:nvPr userDrawn="1"/>
        </p:nvSpPr>
        <p:spPr>
          <a:xfrm rot="2700000">
            <a:off x="9559085" y="-38969"/>
            <a:ext cx="1593806" cy="3572005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E54E32E-29E1-0CE9-9EB3-4299AC5BA551}"/>
              </a:ext>
            </a:extLst>
          </p:cNvPr>
          <p:cNvSpPr/>
          <p:nvPr userDrawn="1"/>
        </p:nvSpPr>
        <p:spPr>
          <a:xfrm rot="2700000">
            <a:off x="9854559" y="1343244"/>
            <a:ext cx="592131" cy="3587612"/>
          </a:xfrm>
          <a:prstGeom prst="roundRect">
            <a:avLst>
              <a:gd name="adj" fmla="val 50000"/>
            </a:avLst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3A17EB4-0511-A9D6-5B78-5B9A582D9D64}"/>
              </a:ext>
            </a:extLst>
          </p:cNvPr>
          <p:cNvSpPr/>
          <p:nvPr userDrawn="1"/>
        </p:nvSpPr>
        <p:spPr>
          <a:xfrm rot="2700000">
            <a:off x="8557688" y="693470"/>
            <a:ext cx="2580562" cy="3142418"/>
          </a:xfrm>
          <a:custGeom>
            <a:avLst/>
            <a:gdLst>
              <a:gd name="connsiteX0" fmla="*/ 0 w 2580562"/>
              <a:gd name="connsiteY0" fmla="*/ 944206 h 4086624"/>
              <a:gd name="connsiteX1" fmla="*/ 704269 w 2580562"/>
              <a:gd name="connsiteY1" fmla="*/ 239938 h 4086624"/>
              <a:gd name="connsiteX2" fmla="*/ 1862790 w 2580562"/>
              <a:gd name="connsiteY2" fmla="*/ 239938 h 4086624"/>
              <a:gd name="connsiteX3" fmla="*/ 2580562 w 2580562"/>
              <a:gd name="connsiteY3" fmla="*/ 957710 h 4086624"/>
              <a:gd name="connsiteX4" fmla="*/ 2580562 w 2580562"/>
              <a:gd name="connsiteY4" fmla="*/ 2796343 h 4086624"/>
              <a:gd name="connsiteX5" fmla="*/ 1290281 w 2580562"/>
              <a:gd name="connsiteY5" fmla="*/ 4086624 h 4086624"/>
              <a:gd name="connsiteX6" fmla="*/ 0 w 2580562"/>
              <a:gd name="connsiteY6" fmla="*/ 2796343 h 4086624"/>
              <a:gd name="connsiteX0" fmla="*/ 704269 w 2580562"/>
              <a:gd name="connsiteY0" fmla="*/ 239938 h 4086624"/>
              <a:gd name="connsiteX1" fmla="*/ 1862790 w 2580562"/>
              <a:gd name="connsiteY1" fmla="*/ 239938 h 4086624"/>
              <a:gd name="connsiteX2" fmla="*/ 2580562 w 2580562"/>
              <a:gd name="connsiteY2" fmla="*/ 957710 h 4086624"/>
              <a:gd name="connsiteX3" fmla="*/ 2580562 w 2580562"/>
              <a:gd name="connsiteY3" fmla="*/ 2796343 h 4086624"/>
              <a:gd name="connsiteX4" fmla="*/ 1290281 w 2580562"/>
              <a:gd name="connsiteY4" fmla="*/ 4086624 h 4086624"/>
              <a:gd name="connsiteX5" fmla="*/ 0 w 2580562"/>
              <a:gd name="connsiteY5" fmla="*/ 2796343 h 4086624"/>
              <a:gd name="connsiteX6" fmla="*/ 0 w 2580562"/>
              <a:gd name="connsiteY6" fmla="*/ 944206 h 4086624"/>
              <a:gd name="connsiteX7" fmla="*/ 795709 w 2580562"/>
              <a:gd name="connsiteY7" fmla="*/ 331378 h 4086624"/>
              <a:gd name="connsiteX0" fmla="*/ 704269 w 2580562"/>
              <a:gd name="connsiteY0" fmla="*/ 239938 h 4086624"/>
              <a:gd name="connsiteX1" fmla="*/ 1862790 w 2580562"/>
              <a:gd name="connsiteY1" fmla="*/ 239938 h 4086624"/>
              <a:gd name="connsiteX2" fmla="*/ 2580562 w 2580562"/>
              <a:gd name="connsiteY2" fmla="*/ 957710 h 4086624"/>
              <a:gd name="connsiteX3" fmla="*/ 2580562 w 2580562"/>
              <a:gd name="connsiteY3" fmla="*/ 2796343 h 4086624"/>
              <a:gd name="connsiteX4" fmla="*/ 1290281 w 2580562"/>
              <a:gd name="connsiteY4" fmla="*/ 4086624 h 4086624"/>
              <a:gd name="connsiteX5" fmla="*/ 0 w 2580562"/>
              <a:gd name="connsiteY5" fmla="*/ 2796343 h 4086624"/>
              <a:gd name="connsiteX6" fmla="*/ 0 w 2580562"/>
              <a:gd name="connsiteY6" fmla="*/ 944206 h 4086624"/>
              <a:gd name="connsiteX0" fmla="*/ 1862790 w 2580562"/>
              <a:gd name="connsiteY0" fmla="*/ 0 h 3846686"/>
              <a:gd name="connsiteX1" fmla="*/ 2580562 w 2580562"/>
              <a:gd name="connsiteY1" fmla="*/ 717772 h 3846686"/>
              <a:gd name="connsiteX2" fmla="*/ 2580562 w 2580562"/>
              <a:gd name="connsiteY2" fmla="*/ 2556405 h 3846686"/>
              <a:gd name="connsiteX3" fmla="*/ 1290281 w 2580562"/>
              <a:gd name="connsiteY3" fmla="*/ 3846686 h 3846686"/>
              <a:gd name="connsiteX4" fmla="*/ 0 w 2580562"/>
              <a:gd name="connsiteY4" fmla="*/ 2556405 h 3846686"/>
              <a:gd name="connsiteX5" fmla="*/ 0 w 2580562"/>
              <a:gd name="connsiteY5" fmla="*/ 704268 h 3846686"/>
              <a:gd name="connsiteX0" fmla="*/ 2580562 w 2580562"/>
              <a:gd name="connsiteY0" fmla="*/ 13504 h 3142418"/>
              <a:gd name="connsiteX1" fmla="*/ 2580562 w 2580562"/>
              <a:gd name="connsiteY1" fmla="*/ 1852137 h 3142418"/>
              <a:gd name="connsiteX2" fmla="*/ 1290281 w 2580562"/>
              <a:gd name="connsiteY2" fmla="*/ 3142418 h 3142418"/>
              <a:gd name="connsiteX3" fmla="*/ 0 w 2580562"/>
              <a:gd name="connsiteY3" fmla="*/ 1852137 h 3142418"/>
              <a:gd name="connsiteX4" fmla="*/ 0 w 2580562"/>
              <a:gd name="connsiteY4" fmla="*/ 0 h 314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0562" h="3142418">
                <a:moveTo>
                  <a:pt x="2580562" y="13504"/>
                </a:moveTo>
                <a:lnTo>
                  <a:pt x="2580562" y="1852137"/>
                </a:lnTo>
                <a:cubicBezTo>
                  <a:pt x="2580562" y="2564740"/>
                  <a:pt x="2002884" y="3142418"/>
                  <a:pt x="1290281" y="3142418"/>
                </a:cubicBezTo>
                <a:cubicBezTo>
                  <a:pt x="577678" y="3142418"/>
                  <a:pt x="0" y="2564740"/>
                  <a:pt x="0" y="1852137"/>
                </a:cubicBezTo>
                <a:lnTo>
                  <a:pt x="0" y="0"/>
                </a:ln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279552D8-93AA-1558-53CF-B3AA2441C9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0042" y="611533"/>
            <a:ext cx="2212298" cy="399963"/>
          </a:xfrm>
          <a:prstGeom prst="rect">
            <a:avLst/>
          </a:prstGeom>
        </p:spPr>
      </p:pic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2DB327D4-53F8-A02D-FD4B-DE3CE5FC3F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69" y="4513255"/>
            <a:ext cx="6716020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rgbClr val="00CCFF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D4F7CBF-B263-6DFD-1E56-2BCBA3164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69" y="2292059"/>
            <a:ext cx="6716020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E612B469-E30C-E96F-0490-0578267862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17748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F596005-FB39-2120-DA4B-99A6851C070A}"/>
              </a:ext>
            </a:extLst>
          </p:cNvPr>
          <p:cNvSpPr txBox="1"/>
          <p:nvPr userDrawn="1"/>
        </p:nvSpPr>
        <p:spPr bwMode="black">
          <a:xfrm>
            <a:off x="560269" y="66215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178ED566-AC4C-DB1A-FBA8-411D294AA9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667751" y="3414409"/>
            <a:ext cx="3194049" cy="3189591"/>
          </a:xfrm>
          <a:prstGeom prst="roundRect">
            <a:avLst>
              <a:gd name="adj" fmla="val 24829"/>
            </a:avLst>
          </a:prstGeom>
          <a:blipFill>
            <a:blip r:embed="rId7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4871D7E5-7016-D225-9AA1-16FDB1DA9B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8" y="5680710"/>
            <a:ext cx="6716020" cy="5070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144781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312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739BB318-2FA2-9BC0-C500-B054B13E410C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257E79C-F908-FC57-48EB-74840AB78064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96138" y="1574801"/>
            <a:ext cx="1566472" cy="5029200"/>
          </a:xfrm>
          <a:prstGeom prst="rect">
            <a:avLst/>
          </a:prstGeom>
        </p:spPr>
      </p:pic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EA460FB5-1D71-63A8-83DD-7C183AC8C704}"/>
              </a:ext>
            </a:extLst>
          </p:cNvPr>
          <p:cNvSpPr>
            <a:spLocks/>
          </p:cNvSpPr>
          <p:nvPr userDrawn="1"/>
        </p:nvSpPr>
        <p:spPr>
          <a:xfrm>
            <a:off x="6115326" y="6091026"/>
            <a:ext cx="1562353" cy="751899"/>
          </a:xfrm>
          <a:custGeom>
            <a:avLst/>
            <a:gdLst>
              <a:gd name="connsiteX0" fmla="*/ 781177 w 1562353"/>
              <a:gd name="connsiteY0" fmla="*/ 0 h 751899"/>
              <a:gd name="connsiteX1" fmla="*/ 1549698 w 1562353"/>
              <a:gd name="connsiteY1" fmla="*/ 626363 h 751899"/>
              <a:gd name="connsiteX2" fmla="*/ 1562353 w 1562353"/>
              <a:gd name="connsiteY2" fmla="*/ 751899 h 751899"/>
              <a:gd name="connsiteX3" fmla="*/ 0 w 1562353"/>
              <a:gd name="connsiteY3" fmla="*/ 751899 h 751899"/>
              <a:gd name="connsiteX4" fmla="*/ 12655 w 1562353"/>
              <a:gd name="connsiteY4" fmla="*/ 626363 h 751899"/>
              <a:gd name="connsiteX5" fmla="*/ 781177 w 1562353"/>
              <a:gd name="connsiteY5" fmla="*/ 0 h 751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2353" h="751899">
                <a:moveTo>
                  <a:pt x="781177" y="0"/>
                </a:moveTo>
                <a:cubicBezTo>
                  <a:pt x="1160266" y="0"/>
                  <a:pt x="1476550" y="268899"/>
                  <a:pt x="1549698" y="626363"/>
                </a:cubicBezTo>
                <a:lnTo>
                  <a:pt x="1562353" y="751899"/>
                </a:lnTo>
                <a:lnTo>
                  <a:pt x="0" y="751899"/>
                </a:lnTo>
                <a:lnTo>
                  <a:pt x="12655" y="626363"/>
                </a:lnTo>
                <a:cubicBezTo>
                  <a:pt x="85803" y="268899"/>
                  <a:pt x="402087" y="0"/>
                  <a:pt x="781177" y="0"/>
                </a:cubicBezTo>
                <a:close/>
              </a:path>
            </a:pathLst>
          </a:custGeom>
          <a:solidFill>
            <a:srgbClr val="0CE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2AAAAF4-7481-56CC-28C1-4AD28C235C0D}"/>
              </a:ext>
            </a:extLst>
          </p:cNvPr>
          <p:cNvSpPr/>
          <p:nvPr userDrawn="1"/>
        </p:nvSpPr>
        <p:spPr>
          <a:xfrm>
            <a:off x="9914020" y="4855317"/>
            <a:ext cx="1574088" cy="1987609"/>
          </a:xfrm>
          <a:custGeom>
            <a:avLst/>
            <a:gdLst>
              <a:gd name="connsiteX0" fmla="*/ 1557049 w 1574088"/>
              <a:gd name="connsiteY0" fmla="*/ 0 h 1987609"/>
              <a:gd name="connsiteX1" fmla="*/ 1574088 w 1574088"/>
              <a:gd name="connsiteY1" fmla="*/ 1718 h 1987609"/>
              <a:gd name="connsiteX2" fmla="*/ 1574088 w 1574088"/>
              <a:gd name="connsiteY2" fmla="*/ 1987609 h 1987609"/>
              <a:gd name="connsiteX3" fmla="*/ 0 w 1574088"/>
              <a:gd name="connsiteY3" fmla="*/ 1987609 h 1987609"/>
              <a:gd name="connsiteX4" fmla="*/ 0 w 1574088"/>
              <a:gd name="connsiteY4" fmla="*/ 1557049 h 1987609"/>
              <a:gd name="connsiteX5" fmla="*/ 1557049 w 1574088"/>
              <a:gd name="connsiteY5" fmla="*/ 0 h 1987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74088" h="1987609">
                <a:moveTo>
                  <a:pt x="1557049" y="0"/>
                </a:moveTo>
                <a:lnTo>
                  <a:pt x="1574088" y="1718"/>
                </a:lnTo>
                <a:lnTo>
                  <a:pt x="1574088" y="1987609"/>
                </a:lnTo>
                <a:lnTo>
                  <a:pt x="0" y="1987609"/>
                </a:lnTo>
                <a:lnTo>
                  <a:pt x="0" y="1557049"/>
                </a:lnTo>
                <a:cubicBezTo>
                  <a:pt x="0" y="697115"/>
                  <a:pt x="697115" y="0"/>
                  <a:pt x="1557049" y="0"/>
                </a:cubicBezTo>
                <a:close/>
              </a:path>
            </a:pathLst>
          </a:custGeom>
          <a:gradFill>
            <a:gsLst>
              <a:gs pos="0">
                <a:srgbClr val="6EEAC4"/>
              </a:gs>
              <a:gs pos="4000">
                <a:srgbClr val="69DFBD"/>
              </a:gs>
              <a:gs pos="39000">
                <a:srgbClr val="458588"/>
              </a:gs>
              <a:gs pos="68000">
                <a:srgbClr val="2A4360"/>
              </a:gs>
              <a:gs pos="89000">
                <a:srgbClr val="191A48"/>
              </a:gs>
              <a:gs pos="100000">
                <a:srgbClr val="130B3F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13F0253-1103-0501-0DDE-FBAF667D32CE}"/>
              </a:ext>
            </a:extLst>
          </p:cNvPr>
          <p:cNvSpPr/>
          <p:nvPr userDrawn="1"/>
        </p:nvSpPr>
        <p:spPr>
          <a:xfrm>
            <a:off x="11821584" y="743158"/>
            <a:ext cx="375516" cy="1813796"/>
          </a:xfrm>
          <a:custGeom>
            <a:avLst/>
            <a:gdLst>
              <a:gd name="connsiteX0" fmla="*/ 375516 w 375516"/>
              <a:gd name="connsiteY0" fmla="*/ 0 h 1813796"/>
              <a:gd name="connsiteX1" fmla="*/ 375516 w 375516"/>
              <a:gd name="connsiteY1" fmla="*/ 1813796 h 1813796"/>
              <a:gd name="connsiteX2" fmla="*/ 287640 w 375516"/>
              <a:gd name="connsiteY2" fmla="*/ 1786518 h 1813796"/>
              <a:gd name="connsiteX3" fmla="*/ 0 w 375516"/>
              <a:gd name="connsiteY3" fmla="*/ 1352570 h 1813796"/>
              <a:gd name="connsiteX4" fmla="*/ 0 w 375516"/>
              <a:gd name="connsiteY4" fmla="*/ 461226 h 1813796"/>
              <a:gd name="connsiteX5" fmla="*/ 287640 w 375516"/>
              <a:gd name="connsiteY5" fmla="*/ 27278 h 181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5516" h="1813796">
                <a:moveTo>
                  <a:pt x="375516" y="0"/>
                </a:moveTo>
                <a:lnTo>
                  <a:pt x="375516" y="1813796"/>
                </a:lnTo>
                <a:lnTo>
                  <a:pt x="287640" y="1786518"/>
                </a:lnTo>
                <a:cubicBezTo>
                  <a:pt x="118606" y="1715023"/>
                  <a:pt x="0" y="1547648"/>
                  <a:pt x="0" y="1352570"/>
                </a:cubicBezTo>
                <a:lnTo>
                  <a:pt x="0" y="461226"/>
                </a:lnTo>
                <a:cubicBezTo>
                  <a:pt x="0" y="266149"/>
                  <a:pt x="118606" y="98774"/>
                  <a:pt x="287640" y="27278"/>
                </a:cubicBezTo>
                <a:close/>
              </a:path>
            </a:pathLst>
          </a:custGeom>
          <a:solidFill>
            <a:srgbClr val="0CE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7676A29-7E8F-1D6A-EC1B-460D31DC64E0}"/>
              </a:ext>
            </a:extLst>
          </p:cNvPr>
          <p:cNvSpPr/>
          <p:nvPr userDrawn="1"/>
        </p:nvSpPr>
        <p:spPr>
          <a:xfrm>
            <a:off x="11834966" y="2890625"/>
            <a:ext cx="362135" cy="3952299"/>
          </a:xfrm>
          <a:custGeom>
            <a:avLst/>
            <a:gdLst>
              <a:gd name="connsiteX0" fmla="*/ 362135 w 362135"/>
              <a:gd name="connsiteY0" fmla="*/ 0 h 3952299"/>
              <a:gd name="connsiteX1" fmla="*/ 362135 w 362135"/>
              <a:gd name="connsiteY1" fmla="*/ 3952299 h 3952299"/>
              <a:gd name="connsiteX2" fmla="*/ 345157 w 362135"/>
              <a:gd name="connsiteY2" fmla="*/ 3947029 h 3952299"/>
              <a:gd name="connsiteX3" fmla="*/ 0 w 362135"/>
              <a:gd name="connsiteY3" fmla="*/ 3426307 h 3952299"/>
              <a:gd name="connsiteX4" fmla="*/ 0 w 362135"/>
              <a:gd name="connsiteY4" fmla="*/ 525991 h 3952299"/>
              <a:gd name="connsiteX5" fmla="*/ 345157 w 362135"/>
              <a:gd name="connsiteY5" fmla="*/ 5270 h 395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135" h="3952299">
                <a:moveTo>
                  <a:pt x="362135" y="0"/>
                </a:moveTo>
                <a:lnTo>
                  <a:pt x="362135" y="3952299"/>
                </a:lnTo>
                <a:lnTo>
                  <a:pt x="345157" y="3947029"/>
                </a:lnTo>
                <a:cubicBezTo>
                  <a:pt x="142323" y="3861237"/>
                  <a:pt x="0" y="3660393"/>
                  <a:pt x="0" y="3426307"/>
                </a:cubicBezTo>
                <a:lnTo>
                  <a:pt x="0" y="525991"/>
                </a:lnTo>
                <a:cubicBezTo>
                  <a:pt x="0" y="291906"/>
                  <a:pt x="142323" y="91062"/>
                  <a:pt x="345157" y="527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A9941B5D-B587-2CD8-1E2F-5B1501282D4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0042" y="611533"/>
            <a:ext cx="2212298" cy="399963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3F0ED94-D4EA-C9DE-D42F-D4FB64467424}"/>
              </a:ext>
            </a:extLst>
          </p:cNvPr>
          <p:cNvSpPr txBox="1"/>
          <p:nvPr userDrawn="1"/>
        </p:nvSpPr>
        <p:spPr bwMode="black">
          <a:xfrm>
            <a:off x="560269" y="6458393"/>
            <a:ext cx="7722832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the United States, the European Union, and various other countries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4F16AE3-C94B-2D66-8339-457C0CFF03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8391" y="6350"/>
            <a:ext cx="1579288" cy="2314574"/>
          </a:xfrm>
          <a:custGeom>
            <a:avLst/>
            <a:gdLst>
              <a:gd name="connsiteX0" fmla="*/ 0 w 1579288"/>
              <a:gd name="connsiteY0" fmla="*/ 0 h 2314574"/>
              <a:gd name="connsiteX1" fmla="*/ 1579288 w 1579288"/>
              <a:gd name="connsiteY1" fmla="*/ 0 h 2314574"/>
              <a:gd name="connsiteX2" fmla="*/ 1579288 w 1579288"/>
              <a:gd name="connsiteY2" fmla="*/ 1524930 h 2314574"/>
              <a:gd name="connsiteX3" fmla="*/ 789644 w 1579288"/>
              <a:gd name="connsiteY3" fmla="*/ 2314574 h 2314574"/>
              <a:gd name="connsiteX4" fmla="*/ 0 w 1579288"/>
              <a:gd name="connsiteY4" fmla="*/ 1524930 h 2314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9288" h="2314574">
                <a:moveTo>
                  <a:pt x="0" y="0"/>
                </a:moveTo>
                <a:lnTo>
                  <a:pt x="1579288" y="0"/>
                </a:lnTo>
                <a:lnTo>
                  <a:pt x="1579288" y="1524930"/>
                </a:lnTo>
                <a:cubicBezTo>
                  <a:pt x="1579288" y="1961038"/>
                  <a:pt x="1225752" y="2314574"/>
                  <a:pt x="789644" y="2314574"/>
                </a:cubicBezTo>
                <a:cubicBezTo>
                  <a:pt x="353536" y="2314574"/>
                  <a:pt x="0" y="1961038"/>
                  <a:pt x="0" y="1524930"/>
                </a:cubicBez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39A5091-7454-13CA-923E-0745779CED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8391" y="2454442"/>
            <a:ext cx="1579288" cy="3489158"/>
          </a:xfrm>
          <a:custGeom>
            <a:avLst/>
            <a:gdLst>
              <a:gd name="connsiteX0" fmla="*/ 789644 w 1579288"/>
              <a:gd name="connsiteY0" fmla="*/ 0 h 3489158"/>
              <a:gd name="connsiteX1" fmla="*/ 1579288 w 1579288"/>
              <a:gd name="connsiteY1" fmla="*/ 789644 h 3489158"/>
              <a:gd name="connsiteX2" fmla="*/ 1579288 w 1579288"/>
              <a:gd name="connsiteY2" fmla="*/ 2699514 h 3489158"/>
              <a:gd name="connsiteX3" fmla="*/ 789644 w 1579288"/>
              <a:gd name="connsiteY3" fmla="*/ 3489158 h 3489158"/>
              <a:gd name="connsiteX4" fmla="*/ 0 w 1579288"/>
              <a:gd name="connsiteY4" fmla="*/ 2699514 h 3489158"/>
              <a:gd name="connsiteX5" fmla="*/ 0 w 1579288"/>
              <a:gd name="connsiteY5" fmla="*/ 789644 h 3489158"/>
              <a:gd name="connsiteX6" fmla="*/ 789644 w 1579288"/>
              <a:gd name="connsiteY6" fmla="*/ 0 h 3489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9288" h="3489158">
                <a:moveTo>
                  <a:pt x="789644" y="0"/>
                </a:moveTo>
                <a:cubicBezTo>
                  <a:pt x="1225752" y="0"/>
                  <a:pt x="1579288" y="353536"/>
                  <a:pt x="1579288" y="789644"/>
                </a:cubicBezTo>
                <a:lnTo>
                  <a:pt x="1579288" y="2699514"/>
                </a:lnTo>
                <a:cubicBezTo>
                  <a:pt x="1579288" y="3135622"/>
                  <a:pt x="1225752" y="3489158"/>
                  <a:pt x="789644" y="3489158"/>
                </a:cubicBezTo>
                <a:cubicBezTo>
                  <a:pt x="353536" y="3489158"/>
                  <a:pt x="0" y="3135622"/>
                  <a:pt x="0" y="2699514"/>
                </a:cubicBezTo>
                <a:lnTo>
                  <a:pt x="0" y="789644"/>
                </a:lnTo>
                <a:cubicBezTo>
                  <a:pt x="0" y="353536"/>
                  <a:pt x="353536" y="0"/>
                  <a:pt x="789644" y="0"/>
                </a:cubicBez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BF50C530-E22F-4FAC-5759-3DBBAD403F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70" y="4513255"/>
            <a:ext cx="5169341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rgbClr val="00CCFF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</a:t>
            </a:r>
            <a:br>
              <a:rPr lang="en-US"/>
            </a:br>
            <a:r>
              <a:rPr lang="en-US"/>
              <a:t>sentence cas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01CB714-76EF-FC5F-FA21-AAC2687A78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70" y="2292059"/>
            <a:ext cx="5169341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AA1AF35-E214-5937-C222-35F7C8B613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17748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BDCA1FD-A8D4-1358-1CE3-87CF2BAF9D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9" y="5680710"/>
            <a:ext cx="5169341" cy="5070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7CDFB77E-A09E-BDE9-B164-A894EB8370D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22893"/>
          <a:stretch>
            <a:fillRect/>
          </a:stretch>
        </p:blipFill>
        <p:spPr>
          <a:xfrm>
            <a:off x="7997572" y="0"/>
            <a:ext cx="1578228" cy="1574836"/>
          </a:xfrm>
          <a:custGeom>
            <a:avLst/>
            <a:gdLst>
              <a:gd name="connsiteX0" fmla="*/ 0 w 1578228"/>
              <a:gd name="connsiteY0" fmla="*/ 0 h 1574836"/>
              <a:gd name="connsiteX1" fmla="*/ 1578228 w 1578228"/>
              <a:gd name="connsiteY1" fmla="*/ 0 h 1574836"/>
              <a:gd name="connsiteX2" fmla="*/ 1578228 w 1578228"/>
              <a:gd name="connsiteY2" fmla="*/ 1574836 h 1574836"/>
              <a:gd name="connsiteX3" fmla="*/ 0 w 1578228"/>
              <a:gd name="connsiteY3" fmla="*/ 1574836 h 1574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8228" h="1574836">
                <a:moveTo>
                  <a:pt x="0" y="0"/>
                </a:moveTo>
                <a:lnTo>
                  <a:pt x="1578228" y="0"/>
                </a:lnTo>
                <a:lnTo>
                  <a:pt x="1578228" y="1574836"/>
                </a:lnTo>
                <a:lnTo>
                  <a:pt x="0" y="1574836"/>
                </a:lnTo>
                <a:close/>
              </a:path>
            </a:pathLst>
          </a:custGeom>
        </p:spPr>
      </p:pic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11F2F281-CD61-3144-F723-3FD1575164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914020" y="0"/>
            <a:ext cx="1574799" cy="4616449"/>
          </a:xfrm>
          <a:custGeom>
            <a:avLst/>
            <a:gdLst>
              <a:gd name="connsiteX0" fmla="*/ 776817 w 1574799"/>
              <a:gd name="connsiteY0" fmla="*/ 0 h 4616449"/>
              <a:gd name="connsiteX1" fmla="*/ 797982 w 1574799"/>
              <a:gd name="connsiteY1" fmla="*/ 0 h 4616449"/>
              <a:gd name="connsiteX2" fmla="*/ 1574799 w 1574799"/>
              <a:gd name="connsiteY2" fmla="*/ 776817 h 4616449"/>
              <a:gd name="connsiteX3" fmla="*/ 1574799 w 1574799"/>
              <a:gd name="connsiteY3" fmla="*/ 3839632 h 4616449"/>
              <a:gd name="connsiteX4" fmla="*/ 797982 w 1574799"/>
              <a:gd name="connsiteY4" fmla="*/ 4616449 h 4616449"/>
              <a:gd name="connsiteX5" fmla="*/ 776817 w 1574799"/>
              <a:gd name="connsiteY5" fmla="*/ 4616449 h 4616449"/>
              <a:gd name="connsiteX6" fmla="*/ 0 w 1574799"/>
              <a:gd name="connsiteY6" fmla="*/ 3839632 h 4616449"/>
              <a:gd name="connsiteX7" fmla="*/ 0 w 1574799"/>
              <a:gd name="connsiteY7" fmla="*/ 776817 h 4616449"/>
              <a:gd name="connsiteX8" fmla="*/ 776817 w 1574799"/>
              <a:gd name="connsiteY8" fmla="*/ 0 h 461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4799" h="4616449">
                <a:moveTo>
                  <a:pt x="776817" y="0"/>
                </a:moveTo>
                <a:lnTo>
                  <a:pt x="797982" y="0"/>
                </a:lnTo>
                <a:cubicBezTo>
                  <a:pt x="1227006" y="0"/>
                  <a:pt x="1574799" y="347793"/>
                  <a:pt x="1574799" y="776817"/>
                </a:cubicBezTo>
                <a:lnTo>
                  <a:pt x="1574799" y="3839632"/>
                </a:lnTo>
                <a:cubicBezTo>
                  <a:pt x="1574799" y="4268656"/>
                  <a:pt x="1227006" y="4616449"/>
                  <a:pt x="797982" y="4616449"/>
                </a:cubicBezTo>
                <a:lnTo>
                  <a:pt x="776817" y="4616449"/>
                </a:lnTo>
                <a:cubicBezTo>
                  <a:pt x="347793" y="4616449"/>
                  <a:pt x="0" y="4268656"/>
                  <a:pt x="0" y="3839632"/>
                </a:cubicBezTo>
                <a:lnTo>
                  <a:pt x="0" y="776817"/>
                </a:lnTo>
                <a:cubicBezTo>
                  <a:pt x="0" y="347793"/>
                  <a:pt x="347793" y="0"/>
                  <a:pt x="776817" y="0"/>
                </a:cubicBez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193601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8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589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DA3FDF07-2EE4-1BD3-7BBF-76F0E37FCF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594B7A1-4047-AFA3-498E-DD5DFA54DCB6}"/>
              </a:ext>
            </a:extLst>
          </p:cNvPr>
          <p:cNvSpPr/>
          <p:nvPr userDrawn="1"/>
        </p:nvSpPr>
        <p:spPr>
          <a:xfrm flipH="1">
            <a:off x="6258210" y="-1"/>
            <a:ext cx="5943600" cy="3791372"/>
          </a:xfrm>
          <a:custGeom>
            <a:avLst/>
            <a:gdLst>
              <a:gd name="connsiteX0" fmla="*/ 4047914 w 5943600"/>
              <a:gd name="connsiteY0" fmla="*/ 0 h 3791372"/>
              <a:gd name="connsiteX1" fmla="*/ 0 w 5943600"/>
              <a:gd name="connsiteY1" fmla="*/ 0 h 3791372"/>
              <a:gd name="connsiteX2" fmla="*/ 0 w 5943600"/>
              <a:gd name="connsiteY2" fmla="*/ 3791371 h 3791372"/>
              <a:gd name="connsiteX3" fmla="*/ 4047913 w 5943600"/>
              <a:gd name="connsiteY3" fmla="*/ 3791372 h 3791372"/>
              <a:gd name="connsiteX4" fmla="*/ 5943599 w 5943600"/>
              <a:gd name="connsiteY4" fmla="*/ 1895686 h 3791372"/>
              <a:gd name="connsiteX5" fmla="*/ 5943600 w 5943600"/>
              <a:gd name="connsiteY5" fmla="*/ 1895686 h 3791372"/>
              <a:gd name="connsiteX6" fmla="*/ 4047914 w 5943600"/>
              <a:gd name="connsiteY6" fmla="*/ 0 h 379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43600" h="3791372">
                <a:moveTo>
                  <a:pt x="4047914" y="0"/>
                </a:moveTo>
                <a:lnTo>
                  <a:pt x="0" y="0"/>
                </a:lnTo>
                <a:lnTo>
                  <a:pt x="0" y="3791371"/>
                </a:lnTo>
                <a:lnTo>
                  <a:pt x="4047913" y="3791372"/>
                </a:lnTo>
                <a:cubicBezTo>
                  <a:pt x="5094871" y="3791372"/>
                  <a:pt x="5943599" y="2942644"/>
                  <a:pt x="5943599" y="1895686"/>
                </a:cubicBezTo>
                <a:lnTo>
                  <a:pt x="5943600" y="1895686"/>
                </a:lnTo>
                <a:cubicBezTo>
                  <a:pt x="5943600" y="848728"/>
                  <a:pt x="5094872" y="0"/>
                  <a:pt x="4047914" y="0"/>
                </a:cubicBezTo>
                <a:close/>
              </a:path>
            </a:pathLst>
          </a:custGeom>
          <a:gradFill>
            <a:gsLst>
              <a:gs pos="75000">
                <a:srgbClr val="140A42"/>
              </a:gs>
              <a:gs pos="0">
                <a:srgbClr val="0DEFC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D98071B0-0BAC-CCBF-C8F1-4A3F454908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52788" y="3098800"/>
            <a:ext cx="8979180" cy="3765875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81C40449-60F0-140A-3AD1-82ADF3046D44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0042" y="5757573"/>
            <a:ext cx="2212298" cy="399963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87DE9C2D-C400-713C-8A35-AA4AC7DED97F}"/>
              </a:ext>
            </a:extLst>
          </p:cNvPr>
          <p:cNvSpPr txBox="1"/>
          <p:nvPr userDrawn="1"/>
        </p:nvSpPr>
        <p:spPr bwMode="black">
          <a:xfrm>
            <a:off x="560269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D1EF"/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860022E3-44E7-94B3-673D-7A83DC626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0269" y="3700879"/>
            <a:ext cx="4849931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rgbClr val="00CCFF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700D2F-0738-919B-C35D-CB0DEA2A88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0269" y="1439889"/>
            <a:ext cx="4849931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3A1FE95-0855-D501-FF26-012CD590C2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4540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rgbClr val="00CC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2D8CDC11-4E82-CC71-FA89-59B33D5F4A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0269" y="4908128"/>
            <a:ext cx="4849931" cy="3857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</p:spTree>
    <p:extLst>
      <p:ext uri="{BB962C8B-B14F-4D97-AF65-F5344CB8AC3E}">
        <p14:creationId xmlns:p14="http://schemas.microsoft.com/office/powerpoint/2010/main" val="7599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6-09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96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562DA74-18F7-19C5-53FC-AD93FC6B5807}"/>
              </a:ext>
            </a:extLst>
          </p:cNvPr>
          <p:cNvSpPr/>
          <p:nvPr userDrawn="1"/>
        </p:nvSpPr>
        <p:spPr>
          <a:xfrm>
            <a:off x="648119" y="2375037"/>
            <a:ext cx="1730943" cy="3819542"/>
          </a:xfrm>
          <a:prstGeom prst="roundRect">
            <a:avLst>
              <a:gd name="adj" fmla="val 49328"/>
            </a:avLst>
          </a:prstGeom>
          <a:gradFill>
            <a:gsLst>
              <a:gs pos="0">
                <a:srgbClr val="6EEAC4"/>
              </a:gs>
              <a:gs pos="4000">
                <a:srgbClr val="69DFBD"/>
              </a:gs>
              <a:gs pos="39000">
                <a:srgbClr val="458588"/>
              </a:gs>
              <a:gs pos="68000">
                <a:srgbClr val="2A4360"/>
              </a:gs>
              <a:gs pos="89000">
                <a:srgbClr val="191A48"/>
              </a:gs>
              <a:gs pos="100000">
                <a:srgbClr val="130B3F"/>
              </a:gs>
            </a:gsLst>
            <a:lin ang="16200000" scaled="1"/>
          </a:gra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4F08590D-7AB4-C9BE-B902-DC26BCDC65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2000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B62F432-FEE6-8978-5F40-FEC041C6C4B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8119" y="622721"/>
            <a:ext cx="1728216" cy="1728216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E9020F3-8CAD-064C-515D-02A876808C1B}"/>
              </a:ext>
            </a:extLst>
          </p:cNvPr>
          <p:cNvSpPr/>
          <p:nvPr userDrawn="1"/>
        </p:nvSpPr>
        <p:spPr>
          <a:xfrm>
            <a:off x="2379546" y="623569"/>
            <a:ext cx="1730943" cy="3819542"/>
          </a:xfrm>
          <a:prstGeom prst="roundRect">
            <a:avLst>
              <a:gd name="adj" fmla="val 49328"/>
            </a:avLst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7E83114-165C-1322-953A-6186533660A7}"/>
              </a:ext>
            </a:extLst>
          </p:cNvPr>
          <p:cNvSpPr>
            <a:spLocks/>
          </p:cNvSpPr>
          <p:nvPr userDrawn="1"/>
        </p:nvSpPr>
        <p:spPr>
          <a:xfrm>
            <a:off x="648119" y="4478373"/>
            <a:ext cx="1728216" cy="1728216"/>
          </a:xfrm>
          <a:prstGeom prst="ellipse">
            <a:avLst/>
          </a:prstGeom>
          <a:solidFill>
            <a:srgbClr val="0CE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CDF14F0E-00FB-45E7-BA8A-D52C93844B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84626" y="4456529"/>
            <a:ext cx="3600449" cy="1750060"/>
          </a:xfrm>
          <a:prstGeom prst="roundRect">
            <a:avLst>
              <a:gd name="adj" fmla="val 50000"/>
            </a:avLst>
          </a:prstGeom>
          <a:blipFill>
            <a:blip r:embed="rId6">
              <a:alphaModFix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1BE6C84-E2C6-DDB5-A020-1D90363B24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24599" y="4556224"/>
            <a:ext cx="5247793" cy="103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</a:t>
            </a:r>
            <a:br>
              <a:rPr lang="en-US"/>
            </a:br>
            <a:r>
              <a:rPr lang="en-US"/>
              <a:t>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CCCF8-1C79-7D58-EE48-AF6A9196C7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24599" y="2304759"/>
            <a:ext cx="5247793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</a:t>
            </a:r>
            <a:br>
              <a:rPr lang="en-US"/>
            </a:br>
            <a:r>
              <a:rPr lang="en-US"/>
              <a:t>Noto Sans Light Title Ca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CBFB29-7615-D0CB-3A29-CF41540B999E}"/>
              </a:ext>
            </a:extLst>
          </p:cNvPr>
          <p:cNvSpPr txBox="1"/>
          <p:nvPr userDrawn="1"/>
        </p:nvSpPr>
        <p:spPr bwMode="black">
          <a:xfrm>
            <a:off x="560269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230B9294-49C2-9A41-4093-3BF610123F60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60095" y="611533"/>
            <a:ext cx="2212298" cy="399963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5E08318-F3D9-A07C-F68B-384AFC7798E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69518" y="623569"/>
            <a:ext cx="2933699" cy="1431514"/>
          </a:xfrm>
          <a:custGeom>
            <a:avLst/>
            <a:gdLst>
              <a:gd name="connsiteX0" fmla="*/ 715757 w 2933699"/>
              <a:gd name="connsiteY0" fmla="*/ 0 h 1431514"/>
              <a:gd name="connsiteX1" fmla="*/ 2217942 w 2933699"/>
              <a:gd name="connsiteY1" fmla="*/ 0 h 1431514"/>
              <a:gd name="connsiteX2" fmla="*/ 2933699 w 2933699"/>
              <a:gd name="connsiteY2" fmla="*/ 715757 h 1431514"/>
              <a:gd name="connsiteX3" fmla="*/ 2217942 w 2933699"/>
              <a:gd name="connsiteY3" fmla="*/ 1431514 h 1431514"/>
              <a:gd name="connsiteX4" fmla="*/ 715757 w 2933699"/>
              <a:gd name="connsiteY4" fmla="*/ 1431514 h 1431514"/>
              <a:gd name="connsiteX5" fmla="*/ 0 w 2933699"/>
              <a:gd name="connsiteY5" fmla="*/ 715757 h 1431514"/>
              <a:gd name="connsiteX6" fmla="*/ 715757 w 2933699"/>
              <a:gd name="connsiteY6" fmla="*/ 0 h 143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33699" h="1431514">
                <a:moveTo>
                  <a:pt x="715757" y="0"/>
                </a:moveTo>
                <a:lnTo>
                  <a:pt x="2217942" y="0"/>
                </a:lnTo>
                <a:cubicBezTo>
                  <a:pt x="2613244" y="0"/>
                  <a:pt x="2933699" y="320455"/>
                  <a:pt x="2933699" y="715757"/>
                </a:cubicBezTo>
                <a:cubicBezTo>
                  <a:pt x="2933699" y="1111059"/>
                  <a:pt x="2613244" y="1431514"/>
                  <a:pt x="2217942" y="1431514"/>
                </a:cubicBezTo>
                <a:lnTo>
                  <a:pt x="715757" y="1431514"/>
                </a:lnTo>
                <a:cubicBezTo>
                  <a:pt x="320456" y="1431514"/>
                  <a:pt x="0" y="1111059"/>
                  <a:pt x="0" y="715757"/>
                </a:cubicBezTo>
                <a:cubicBezTo>
                  <a:pt x="0" y="320455"/>
                  <a:pt x="320456" y="0"/>
                  <a:pt x="715757" y="0"/>
                </a:cubicBez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94211D75-A79E-56DC-E881-52C0CC0275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24598" y="5753948"/>
            <a:ext cx="5247793" cy="3857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US"/>
              <a:t>Author First Last Name, Title 14pt Noto San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CF48BE1-E766-5FA2-D411-8460923A9A1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0117" y="2770343"/>
            <a:ext cx="1684470" cy="168447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E6FE9EC-397D-B942-0236-819BCED1063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10117" y="623569"/>
            <a:ext cx="1757680" cy="2274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29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6-10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43B117B-9DAD-CC97-C2A8-66F44CA68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424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3B117B-9DAD-CC97-C2A8-66F44CA68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4400" b="0" i="0" baseline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Headline 44pt Noto Sans Light Title Cas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4pt Noto San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 r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0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</a:p>
          <a:p>
            <a:pPr lvl="0"/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© 2026. All rights reserved. IQVIA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1525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A8A15E-1053-38DD-AC1D-5EA46364C0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5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A8A15E-1053-38DD-AC1D-5EA46364C0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13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7595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56B5BD-D0BB-AFCA-634D-8774ECD5E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862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6B5BD-D0BB-AFCA-634D-8774ECD5E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15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27927AA-6E3C-3281-2AB0-473A1A133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476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7927AA-6E3C-3281-2AB0-473A1A133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082396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</a:t>
            </a:r>
            <a:r>
              <a:rPr lang="en-US"/>
              <a:t>Noto Sans</a:t>
            </a:r>
            <a:r>
              <a:rPr lang="en-US" noProof="0"/>
              <a:t>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sed diam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090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8F84D9-5BB2-7598-FDD4-DE7D2E900F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698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8F84D9-5BB2-7598-FDD4-DE7D2E900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tx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</a:t>
            </a:r>
            <a:r>
              <a:rPr lang="en-US"/>
              <a:t>Noto Sans</a:t>
            </a:r>
            <a:r>
              <a:rPr lang="en-US" noProof="0"/>
              <a:t>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sed diam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38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A0FCE1-040D-C5C9-0D6C-D0BC2BC5E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65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A0FCE1-040D-C5C9-0D6C-D0BC2BC5E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87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F0D803-AE05-DFA0-7C50-E5A7C3AE89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5909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0D803-AE05-DFA0-7C50-E5A7C3AE89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04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EBE655-8CD4-3111-DF6A-4F3DB7213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945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EBE655-8CD4-3111-DF6A-4F3DB7213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6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43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F4ACCC-7F14-F438-ACE2-3F9BADE4A0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656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F4ACCC-7F14-F438-ACE2-3F9BADE4A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43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F36D22-2A16-B58B-E2E7-CC2E4CF2D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3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F36D22-2A16-B58B-E2E7-CC2E4CF2D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s are 20pt Noto Sans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Headlines are 28pt Noto Sans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58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3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23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0123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-01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9792B7-65B3-A8E0-6011-DDC2A04AF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69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9792B7-65B3-A8E0-6011-DDC2A04AF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E108673-A841-F2DC-4C63-9BA3E20F45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304263" cy="2595880"/>
          </a:xfrm>
          <a:custGeom>
            <a:avLst/>
            <a:gdLst>
              <a:gd name="connsiteX0" fmla="*/ 0 w 1304263"/>
              <a:gd name="connsiteY0" fmla="*/ 0 h 2595880"/>
              <a:gd name="connsiteX1" fmla="*/ 6322 w 1304263"/>
              <a:gd name="connsiteY1" fmla="*/ 0 h 2595880"/>
              <a:gd name="connsiteX2" fmla="*/ 1304263 w 1304263"/>
              <a:gd name="connsiteY2" fmla="*/ 1297940 h 2595880"/>
              <a:gd name="connsiteX3" fmla="*/ 1304263 w 1304263"/>
              <a:gd name="connsiteY3" fmla="*/ 1297940 h 2595880"/>
              <a:gd name="connsiteX4" fmla="*/ 6322 w 1304263"/>
              <a:gd name="connsiteY4" fmla="*/ 2595880 h 2595880"/>
              <a:gd name="connsiteX5" fmla="*/ 0 w 1304263"/>
              <a:gd name="connsiteY5" fmla="*/ 2595880 h 25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04263" h="2595880">
                <a:moveTo>
                  <a:pt x="0" y="0"/>
                </a:moveTo>
                <a:lnTo>
                  <a:pt x="6322" y="0"/>
                </a:lnTo>
                <a:cubicBezTo>
                  <a:pt x="723155" y="0"/>
                  <a:pt x="1304263" y="581108"/>
                  <a:pt x="1304263" y="1297940"/>
                </a:cubicBezTo>
                <a:lnTo>
                  <a:pt x="1304263" y="1297940"/>
                </a:lnTo>
                <a:cubicBezTo>
                  <a:pt x="1304263" y="2014773"/>
                  <a:pt x="723155" y="2595880"/>
                  <a:pt x="6322" y="2595880"/>
                </a:cubicBezTo>
                <a:lnTo>
                  <a:pt x="0" y="259588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vert="horz" anchor="ctr"/>
          <a:lstStyle>
            <a:lvl1pPr>
              <a:defRPr sz="32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Table of contents or Agenda</a:t>
            </a:r>
          </a:p>
        </p:txBody>
      </p: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96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9792B7-65B3-A8E0-6011-DDC2A04AF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561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9792B7-65B3-A8E0-6011-DDC2A04AF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vert="horz" anchor="ctr"/>
          <a:lstStyle>
            <a:lvl1pPr>
              <a:defRPr sz="32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Table of contents or Agenda</a:t>
            </a:r>
          </a:p>
        </p:txBody>
      </p: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123A0F2-7503-B8DD-283A-DEA0EB4EB5EA}"/>
              </a:ext>
            </a:extLst>
          </p:cNvPr>
          <p:cNvSpPr/>
          <p:nvPr userDrawn="1"/>
        </p:nvSpPr>
        <p:spPr>
          <a:xfrm rot="18900000" flipH="1">
            <a:off x="-594083" y="523938"/>
            <a:ext cx="1527403" cy="2007154"/>
          </a:xfrm>
          <a:custGeom>
            <a:avLst/>
            <a:gdLst>
              <a:gd name="connsiteX0" fmla="*/ 0 w 1527403"/>
              <a:gd name="connsiteY0" fmla="*/ 0 h 2007154"/>
              <a:gd name="connsiteX1" fmla="*/ 0 w 1527403"/>
              <a:gd name="connsiteY1" fmla="*/ 1210251 h 2007154"/>
              <a:gd name="connsiteX2" fmla="*/ 796903 w 1527403"/>
              <a:gd name="connsiteY2" fmla="*/ 2007154 h 2007154"/>
              <a:gd name="connsiteX3" fmla="*/ 1457708 w 1527403"/>
              <a:gd name="connsiteY3" fmla="*/ 1655807 h 2007154"/>
              <a:gd name="connsiteX4" fmla="*/ 1527403 w 1527403"/>
              <a:gd name="connsiteY4" fmla="*/ 1527403 h 2007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7403" h="2007154">
                <a:moveTo>
                  <a:pt x="0" y="0"/>
                </a:moveTo>
                <a:lnTo>
                  <a:pt x="0" y="1210251"/>
                </a:lnTo>
                <a:cubicBezTo>
                  <a:pt x="0" y="1650368"/>
                  <a:pt x="356786" y="2007154"/>
                  <a:pt x="796903" y="2007154"/>
                </a:cubicBezTo>
                <a:cubicBezTo>
                  <a:pt x="1071976" y="2007154"/>
                  <a:pt x="1314498" y="1867785"/>
                  <a:pt x="1457708" y="1655807"/>
                </a:cubicBezTo>
                <a:lnTo>
                  <a:pt x="1527403" y="15274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01576D0-87DC-3682-FFCD-2F2E6A1F2A94}"/>
              </a:ext>
            </a:extLst>
          </p:cNvPr>
          <p:cNvSpPr/>
          <p:nvPr userDrawn="1"/>
        </p:nvSpPr>
        <p:spPr>
          <a:xfrm rot="18900000" flipH="1">
            <a:off x="142114" y="2067490"/>
            <a:ext cx="592131" cy="1831489"/>
          </a:xfrm>
          <a:custGeom>
            <a:avLst/>
            <a:gdLst>
              <a:gd name="connsiteX0" fmla="*/ 0 w 592131"/>
              <a:gd name="connsiteY0" fmla="*/ 0 h 1831489"/>
              <a:gd name="connsiteX1" fmla="*/ 0 w 592131"/>
              <a:gd name="connsiteY1" fmla="*/ 1535422 h 1831489"/>
              <a:gd name="connsiteX2" fmla="*/ 296066 w 592131"/>
              <a:gd name="connsiteY2" fmla="*/ 1831488 h 1831489"/>
              <a:gd name="connsiteX3" fmla="*/ 296065 w 592131"/>
              <a:gd name="connsiteY3" fmla="*/ 1831489 h 1831489"/>
              <a:gd name="connsiteX4" fmla="*/ 592131 w 592131"/>
              <a:gd name="connsiteY4" fmla="*/ 1535423 h 1831489"/>
              <a:gd name="connsiteX5" fmla="*/ 592131 w 592131"/>
              <a:gd name="connsiteY5" fmla="*/ 592131 h 183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131" h="1831489">
                <a:moveTo>
                  <a:pt x="0" y="0"/>
                </a:moveTo>
                <a:lnTo>
                  <a:pt x="0" y="1535422"/>
                </a:lnTo>
                <a:cubicBezTo>
                  <a:pt x="0" y="1698935"/>
                  <a:pt x="132553" y="1831488"/>
                  <a:pt x="296066" y="1831488"/>
                </a:cubicBezTo>
                <a:lnTo>
                  <a:pt x="296065" y="1831489"/>
                </a:lnTo>
                <a:cubicBezTo>
                  <a:pt x="459578" y="1831489"/>
                  <a:pt x="592131" y="1698936"/>
                  <a:pt x="592131" y="1535423"/>
                </a:cubicBezTo>
                <a:lnTo>
                  <a:pt x="592131" y="592131"/>
                </a:ln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46560C56-9182-2FB8-A10A-9F4D9E9AE16F}"/>
              </a:ext>
            </a:extLst>
          </p:cNvPr>
          <p:cNvSpPr/>
          <p:nvPr userDrawn="1"/>
        </p:nvSpPr>
        <p:spPr>
          <a:xfrm rot="18900000" flipH="1">
            <a:off x="-769846" y="488813"/>
            <a:ext cx="2386628" cy="2423999"/>
          </a:xfrm>
          <a:custGeom>
            <a:avLst/>
            <a:gdLst>
              <a:gd name="connsiteX0" fmla="*/ 290093 w 2386628"/>
              <a:gd name="connsiteY0" fmla="*/ 0 h 2714092"/>
              <a:gd name="connsiteX1" fmla="*/ 0 w 2386628"/>
              <a:gd name="connsiteY1" fmla="*/ 290093 h 2714092"/>
              <a:gd name="connsiteX2" fmla="*/ 0 w 2386628"/>
              <a:gd name="connsiteY2" fmla="*/ 1423811 h 2714092"/>
              <a:gd name="connsiteX3" fmla="*/ 1290281 w 2386628"/>
              <a:gd name="connsiteY3" fmla="*/ 2714092 h 2714092"/>
              <a:gd name="connsiteX4" fmla="*/ 2360202 w 2386628"/>
              <a:gd name="connsiteY4" fmla="*/ 2145220 h 2714092"/>
              <a:gd name="connsiteX5" fmla="*/ 2386628 w 2386628"/>
              <a:gd name="connsiteY5" fmla="*/ 2096534 h 2714092"/>
              <a:gd name="connsiteX0" fmla="*/ 290093 w 2386628"/>
              <a:gd name="connsiteY0" fmla="*/ 0 h 2714092"/>
              <a:gd name="connsiteX1" fmla="*/ 0 w 2386628"/>
              <a:gd name="connsiteY1" fmla="*/ 290093 h 2714092"/>
              <a:gd name="connsiteX2" fmla="*/ 0 w 2386628"/>
              <a:gd name="connsiteY2" fmla="*/ 1423811 h 2714092"/>
              <a:gd name="connsiteX3" fmla="*/ 1290281 w 2386628"/>
              <a:gd name="connsiteY3" fmla="*/ 2714092 h 2714092"/>
              <a:gd name="connsiteX4" fmla="*/ 2360202 w 2386628"/>
              <a:gd name="connsiteY4" fmla="*/ 2145220 h 2714092"/>
              <a:gd name="connsiteX5" fmla="*/ 2386628 w 2386628"/>
              <a:gd name="connsiteY5" fmla="*/ 2096534 h 2714092"/>
              <a:gd name="connsiteX6" fmla="*/ 381533 w 2386628"/>
              <a:gd name="connsiteY6" fmla="*/ 91440 h 2714092"/>
              <a:gd name="connsiteX0" fmla="*/ 290093 w 2386628"/>
              <a:gd name="connsiteY0" fmla="*/ 0 h 2714092"/>
              <a:gd name="connsiteX1" fmla="*/ 0 w 2386628"/>
              <a:gd name="connsiteY1" fmla="*/ 290093 h 2714092"/>
              <a:gd name="connsiteX2" fmla="*/ 0 w 2386628"/>
              <a:gd name="connsiteY2" fmla="*/ 1423811 h 2714092"/>
              <a:gd name="connsiteX3" fmla="*/ 1290281 w 2386628"/>
              <a:gd name="connsiteY3" fmla="*/ 2714092 h 2714092"/>
              <a:gd name="connsiteX4" fmla="*/ 2360202 w 2386628"/>
              <a:gd name="connsiteY4" fmla="*/ 2145220 h 2714092"/>
              <a:gd name="connsiteX5" fmla="*/ 2386628 w 2386628"/>
              <a:gd name="connsiteY5" fmla="*/ 2096534 h 2714092"/>
              <a:gd name="connsiteX0" fmla="*/ 0 w 2386628"/>
              <a:gd name="connsiteY0" fmla="*/ 0 h 2423999"/>
              <a:gd name="connsiteX1" fmla="*/ 0 w 2386628"/>
              <a:gd name="connsiteY1" fmla="*/ 1133718 h 2423999"/>
              <a:gd name="connsiteX2" fmla="*/ 1290281 w 2386628"/>
              <a:gd name="connsiteY2" fmla="*/ 2423999 h 2423999"/>
              <a:gd name="connsiteX3" fmla="*/ 2360202 w 2386628"/>
              <a:gd name="connsiteY3" fmla="*/ 1855127 h 2423999"/>
              <a:gd name="connsiteX4" fmla="*/ 2386628 w 2386628"/>
              <a:gd name="connsiteY4" fmla="*/ 1806441 h 242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6628" h="2423999">
                <a:moveTo>
                  <a:pt x="0" y="0"/>
                </a:moveTo>
                <a:lnTo>
                  <a:pt x="0" y="1133718"/>
                </a:lnTo>
                <a:cubicBezTo>
                  <a:pt x="0" y="1846321"/>
                  <a:pt x="577678" y="2423999"/>
                  <a:pt x="1290281" y="2423999"/>
                </a:cubicBezTo>
                <a:cubicBezTo>
                  <a:pt x="1735658" y="2423999"/>
                  <a:pt x="2128330" y="2198344"/>
                  <a:pt x="2360202" y="1855127"/>
                </a:cubicBezTo>
                <a:lnTo>
                  <a:pt x="2386628" y="1806441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8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_Two Column-01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9792B7-65B3-A8E0-6011-DDC2A04AF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648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9792B7-65B3-A8E0-6011-DDC2A04AF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vert="horz" anchor="ctr"/>
          <a:lstStyle>
            <a:lvl1pPr>
              <a:defRPr sz="32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Table of contents or Agenda</a:t>
            </a:r>
          </a:p>
        </p:txBody>
      </p: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B18EDB9-5623-FD23-8C0E-AA29EDA7A3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3149A18-341D-DEE9-36AF-B20C2CF51C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3F2401-B526-950D-C991-D2062E340C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304263" cy="2595880"/>
          </a:xfrm>
          <a:custGeom>
            <a:avLst/>
            <a:gdLst>
              <a:gd name="connsiteX0" fmla="*/ 0 w 1304263"/>
              <a:gd name="connsiteY0" fmla="*/ 0 h 2595880"/>
              <a:gd name="connsiteX1" fmla="*/ 6322 w 1304263"/>
              <a:gd name="connsiteY1" fmla="*/ 0 h 2595880"/>
              <a:gd name="connsiteX2" fmla="*/ 1304263 w 1304263"/>
              <a:gd name="connsiteY2" fmla="*/ 1297940 h 2595880"/>
              <a:gd name="connsiteX3" fmla="*/ 1304263 w 1304263"/>
              <a:gd name="connsiteY3" fmla="*/ 1297940 h 2595880"/>
              <a:gd name="connsiteX4" fmla="*/ 6322 w 1304263"/>
              <a:gd name="connsiteY4" fmla="*/ 2595880 h 2595880"/>
              <a:gd name="connsiteX5" fmla="*/ 0 w 1304263"/>
              <a:gd name="connsiteY5" fmla="*/ 2595880 h 25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04263" h="2595880">
                <a:moveTo>
                  <a:pt x="0" y="0"/>
                </a:moveTo>
                <a:lnTo>
                  <a:pt x="6322" y="0"/>
                </a:lnTo>
                <a:cubicBezTo>
                  <a:pt x="723155" y="0"/>
                  <a:pt x="1304263" y="581108"/>
                  <a:pt x="1304263" y="1297940"/>
                </a:cubicBezTo>
                <a:lnTo>
                  <a:pt x="1304263" y="1297940"/>
                </a:lnTo>
                <a:cubicBezTo>
                  <a:pt x="1304263" y="2014773"/>
                  <a:pt x="723155" y="2595880"/>
                  <a:pt x="6322" y="2595880"/>
                </a:cubicBezTo>
                <a:lnTo>
                  <a:pt x="0" y="259588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97194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_Two Column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9792B7-65B3-A8E0-6011-DDC2A04AF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52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9792B7-65B3-A8E0-6011-DDC2A04AF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vert="horz" anchor="ctr"/>
          <a:lstStyle>
            <a:lvl1pPr>
              <a:defRPr sz="32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Table of contents or Agenda</a:t>
            </a:r>
          </a:p>
        </p:txBody>
      </p: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9CA0"/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59CA0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123A0F2-7503-B8DD-283A-DEA0EB4EB5EA}"/>
              </a:ext>
            </a:extLst>
          </p:cNvPr>
          <p:cNvSpPr/>
          <p:nvPr userDrawn="1"/>
        </p:nvSpPr>
        <p:spPr>
          <a:xfrm rot="18900000" flipH="1">
            <a:off x="-594083" y="523938"/>
            <a:ext cx="1527403" cy="2007154"/>
          </a:xfrm>
          <a:custGeom>
            <a:avLst/>
            <a:gdLst>
              <a:gd name="connsiteX0" fmla="*/ 0 w 1527403"/>
              <a:gd name="connsiteY0" fmla="*/ 0 h 2007154"/>
              <a:gd name="connsiteX1" fmla="*/ 0 w 1527403"/>
              <a:gd name="connsiteY1" fmla="*/ 1210251 h 2007154"/>
              <a:gd name="connsiteX2" fmla="*/ 796903 w 1527403"/>
              <a:gd name="connsiteY2" fmla="*/ 2007154 h 2007154"/>
              <a:gd name="connsiteX3" fmla="*/ 1457708 w 1527403"/>
              <a:gd name="connsiteY3" fmla="*/ 1655807 h 2007154"/>
              <a:gd name="connsiteX4" fmla="*/ 1527403 w 1527403"/>
              <a:gd name="connsiteY4" fmla="*/ 1527403 h 2007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7403" h="2007154">
                <a:moveTo>
                  <a:pt x="0" y="0"/>
                </a:moveTo>
                <a:lnTo>
                  <a:pt x="0" y="1210251"/>
                </a:lnTo>
                <a:cubicBezTo>
                  <a:pt x="0" y="1650368"/>
                  <a:pt x="356786" y="2007154"/>
                  <a:pt x="796903" y="2007154"/>
                </a:cubicBezTo>
                <a:cubicBezTo>
                  <a:pt x="1071976" y="2007154"/>
                  <a:pt x="1314498" y="1867785"/>
                  <a:pt x="1457708" y="1655807"/>
                </a:cubicBezTo>
                <a:lnTo>
                  <a:pt x="1527403" y="15274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01576D0-87DC-3682-FFCD-2F2E6A1F2A94}"/>
              </a:ext>
            </a:extLst>
          </p:cNvPr>
          <p:cNvSpPr/>
          <p:nvPr userDrawn="1"/>
        </p:nvSpPr>
        <p:spPr>
          <a:xfrm rot="18900000" flipH="1">
            <a:off x="142114" y="2067490"/>
            <a:ext cx="592131" cy="1831489"/>
          </a:xfrm>
          <a:custGeom>
            <a:avLst/>
            <a:gdLst>
              <a:gd name="connsiteX0" fmla="*/ 0 w 592131"/>
              <a:gd name="connsiteY0" fmla="*/ 0 h 1831489"/>
              <a:gd name="connsiteX1" fmla="*/ 0 w 592131"/>
              <a:gd name="connsiteY1" fmla="*/ 1535422 h 1831489"/>
              <a:gd name="connsiteX2" fmla="*/ 296066 w 592131"/>
              <a:gd name="connsiteY2" fmla="*/ 1831488 h 1831489"/>
              <a:gd name="connsiteX3" fmla="*/ 296065 w 592131"/>
              <a:gd name="connsiteY3" fmla="*/ 1831489 h 1831489"/>
              <a:gd name="connsiteX4" fmla="*/ 592131 w 592131"/>
              <a:gd name="connsiteY4" fmla="*/ 1535423 h 1831489"/>
              <a:gd name="connsiteX5" fmla="*/ 592131 w 592131"/>
              <a:gd name="connsiteY5" fmla="*/ 592131 h 183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131" h="1831489">
                <a:moveTo>
                  <a:pt x="0" y="0"/>
                </a:moveTo>
                <a:lnTo>
                  <a:pt x="0" y="1535422"/>
                </a:lnTo>
                <a:cubicBezTo>
                  <a:pt x="0" y="1698935"/>
                  <a:pt x="132553" y="1831488"/>
                  <a:pt x="296066" y="1831488"/>
                </a:cubicBezTo>
                <a:lnTo>
                  <a:pt x="296065" y="1831489"/>
                </a:lnTo>
                <a:cubicBezTo>
                  <a:pt x="459578" y="1831489"/>
                  <a:pt x="592131" y="1698936"/>
                  <a:pt x="592131" y="1535423"/>
                </a:cubicBezTo>
                <a:lnTo>
                  <a:pt x="592131" y="592131"/>
                </a:ln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46560C56-9182-2FB8-A10A-9F4D9E9AE16F}"/>
              </a:ext>
            </a:extLst>
          </p:cNvPr>
          <p:cNvSpPr/>
          <p:nvPr userDrawn="1"/>
        </p:nvSpPr>
        <p:spPr>
          <a:xfrm rot="18900000" flipH="1">
            <a:off x="-769846" y="488813"/>
            <a:ext cx="2386628" cy="2423999"/>
          </a:xfrm>
          <a:custGeom>
            <a:avLst/>
            <a:gdLst>
              <a:gd name="connsiteX0" fmla="*/ 290093 w 2386628"/>
              <a:gd name="connsiteY0" fmla="*/ 0 h 2714092"/>
              <a:gd name="connsiteX1" fmla="*/ 0 w 2386628"/>
              <a:gd name="connsiteY1" fmla="*/ 290093 h 2714092"/>
              <a:gd name="connsiteX2" fmla="*/ 0 w 2386628"/>
              <a:gd name="connsiteY2" fmla="*/ 1423811 h 2714092"/>
              <a:gd name="connsiteX3" fmla="*/ 1290281 w 2386628"/>
              <a:gd name="connsiteY3" fmla="*/ 2714092 h 2714092"/>
              <a:gd name="connsiteX4" fmla="*/ 2360202 w 2386628"/>
              <a:gd name="connsiteY4" fmla="*/ 2145220 h 2714092"/>
              <a:gd name="connsiteX5" fmla="*/ 2386628 w 2386628"/>
              <a:gd name="connsiteY5" fmla="*/ 2096534 h 2714092"/>
              <a:gd name="connsiteX0" fmla="*/ 290093 w 2386628"/>
              <a:gd name="connsiteY0" fmla="*/ 0 h 2714092"/>
              <a:gd name="connsiteX1" fmla="*/ 0 w 2386628"/>
              <a:gd name="connsiteY1" fmla="*/ 290093 h 2714092"/>
              <a:gd name="connsiteX2" fmla="*/ 0 w 2386628"/>
              <a:gd name="connsiteY2" fmla="*/ 1423811 h 2714092"/>
              <a:gd name="connsiteX3" fmla="*/ 1290281 w 2386628"/>
              <a:gd name="connsiteY3" fmla="*/ 2714092 h 2714092"/>
              <a:gd name="connsiteX4" fmla="*/ 2360202 w 2386628"/>
              <a:gd name="connsiteY4" fmla="*/ 2145220 h 2714092"/>
              <a:gd name="connsiteX5" fmla="*/ 2386628 w 2386628"/>
              <a:gd name="connsiteY5" fmla="*/ 2096534 h 2714092"/>
              <a:gd name="connsiteX6" fmla="*/ 381533 w 2386628"/>
              <a:gd name="connsiteY6" fmla="*/ 91440 h 2714092"/>
              <a:gd name="connsiteX0" fmla="*/ 290093 w 2386628"/>
              <a:gd name="connsiteY0" fmla="*/ 0 h 2714092"/>
              <a:gd name="connsiteX1" fmla="*/ 0 w 2386628"/>
              <a:gd name="connsiteY1" fmla="*/ 290093 h 2714092"/>
              <a:gd name="connsiteX2" fmla="*/ 0 w 2386628"/>
              <a:gd name="connsiteY2" fmla="*/ 1423811 h 2714092"/>
              <a:gd name="connsiteX3" fmla="*/ 1290281 w 2386628"/>
              <a:gd name="connsiteY3" fmla="*/ 2714092 h 2714092"/>
              <a:gd name="connsiteX4" fmla="*/ 2360202 w 2386628"/>
              <a:gd name="connsiteY4" fmla="*/ 2145220 h 2714092"/>
              <a:gd name="connsiteX5" fmla="*/ 2386628 w 2386628"/>
              <a:gd name="connsiteY5" fmla="*/ 2096534 h 2714092"/>
              <a:gd name="connsiteX0" fmla="*/ 0 w 2386628"/>
              <a:gd name="connsiteY0" fmla="*/ 0 h 2423999"/>
              <a:gd name="connsiteX1" fmla="*/ 0 w 2386628"/>
              <a:gd name="connsiteY1" fmla="*/ 1133718 h 2423999"/>
              <a:gd name="connsiteX2" fmla="*/ 1290281 w 2386628"/>
              <a:gd name="connsiteY2" fmla="*/ 2423999 h 2423999"/>
              <a:gd name="connsiteX3" fmla="*/ 2360202 w 2386628"/>
              <a:gd name="connsiteY3" fmla="*/ 1855127 h 2423999"/>
              <a:gd name="connsiteX4" fmla="*/ 2386628 w 2386628"/>
              <a:gd name="connsiteY4" fmla="*/ 1806441 h 242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6628" h="2423999">
                <a:moveTo>
                  <a:pt x="0" y="0"/>
                </a:moveTo>
                <a:lnTo>
                  <a:pt x="0" y="1133718"/>
                </a:lnTo>
                <a:cubicBezTo>
                  <a:pt x="0" y="1846321"/>
                  <a:pt x="577678" y="2423999"/>
                  <a:pt x="1290281" y="2423999"/>
                </a:cubicBezTo>
                <a:cubicBezTo>
                  <a:pt x="1735658" y="2423999"/>
                  <a:pt x="2128330" y="2198344"/>
                  <a:pt x="2360202" y="1855127"/>
                </a:cubicBezTo>
                <a:lnTo>
                  <a:pt x="2386628" y="1806441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4E2E184-492C-929D-E003-357173179E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FA0240A-CFE6-FB00-2FDA-AC356B39775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+mj-lt"/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j-lt"/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  <a:p>
            <a:pPr lvl="0"/>
            <a:r>
              <a:rPr lang="en-US"/>
              <a:t>Noto Sans 18pt bullet level 1</a:t>
            </a:r>
          </a:p>
          <a:p>
            <a:pPr lvl="1"/>
            <a:r>
              <a:rPr lang="en-US"/>
              <a:t>Noto Sans 16pt bullet level 2</a:t>
            </a:r>
          </a:p>
          <a:p>
            <a:pPr lvl="2"/>
            <a:r>
              <a:rPr lang="en-US"/>
              <a:t>Noto Sans 16pt bullet level 3</a:t>
            </a:r>
          </a:p>
          <a:p>
            <a:pPr lvl="3"/>
            <a:r>
              <a:rPr lang="en-US"/>
              <a:t>Noto Sans 16pt bullet level 4</a:t>
            </a:r>
          </a:p>
          <a:p>
            <a:pPr lvl="4"/>
            <a:r>
              <a:rPr lang="en-US"/>
              <a:t>Noto Sans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97804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1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500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676643F5-726A-FFCD-2BFA-CC1A4CD33F0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 lIns="3566160" anchor="ctr">
            <a:noAutofit/>
          </a:bodyPr>
          <a:lstStyle>
            <a:lvl1pPr marL="0" indent="0" algn="ctr">
              <a:buNone/>
              <a:defRPr sz="18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AC4D14-3967-FD0C-1A14-023CEB22AD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600200" y="1777999"/>
            <a:ext cx="8991600" cy="3276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anchor="ctr" anchorCtr="0"/>
          <a:lstStyle>
            <a:lvl1pPr algn="l">
              <a:lnSpc>
                <a:spcPct val="100000"/>
              </a:lnSpc>
              <a:defRPr sz="44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Noto Sans Light sentence cas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7B9D2A-679A-E70D-9144-8C0F54653E8F}"/>
              </a:ext>
            </a:extLst>
          </p:cNvPr>
          <p:cNvGrpSpPr/>
          <p:nvPr userDrawn="1"/>
        </p:nvGrpSpPr>
        <p:grpSpPr>
          <a:xfrm>
            <a:off x="12323965" y="3876462"/>
            <a:ext cx="2089689" cy="3212677"/>
            <a:chOff x="12323965" y="3876462"/>
            <a:chExt cx="2089689" cy="32126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EA2640E-0E16-4C21-EE61-8EF930D666F6}"/>
                </a:ext>
              </a:extLst>
            </p:cNvPr>
            <p:cNvSpPr/>
            <p:nvPr/>
          </p:nvSpPr>
          <p:spPr>
            <a:xfrm>
              <a:off x="12323965" y="3876462"/>
              <a:ext cx="2089689" cy="3212677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Instructions to change the image follow below steps: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1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Please move the masked shapes from top of the image placeholder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2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Click on the </a:t>
              </a:r>
              <a:b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image icon 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3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Select the image to be replaced and then click on Insert option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4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Once the image is replaced, Goto </a:t>
              </a:r>
              <a:b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Home =&gt; Reset option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5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Shape/masked  layers will be readjusted on the slide and ready to use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BC0CB3D-38B0-E87C-E0DC-B9F5A8316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694135" y="4756344"/>
              <a:ext cx="197126" cy="174381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5001A2C-6752-AFA7-B7BC-2319DAFA955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3834532" y="5786295"/>
              <a:ext cx="491067" cy="213105"/>
            </a:xfrm>
            <a:custGeom>
              <a:avLst/>
              <a:gdLst>
                <a:gd name="connsiteX0" fmla="*/ 0 w 538480"/>
                <a:gd name="connsiteY0" fmla="*/ 0 h 233680"/>
                <a:gd name="connsiteX1" fmla="*/ 538480 w 538480"/>
                <a:gd name="connsiteY1" fmla="*/ 0 h 233680"/>
                <a:gd name="connsiteX2" fmla="*/ 538480 w 538480"/>
                <a:gd name="connsiteY2" fmla="*/ 233680 h 233680"/>
                <a:gd name="connsiteX3" fmla="*/ 0 w 538480"/>
                <a:gd name="connsiteY3" fmla="*/ 233680 h 23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480" h="233680">
                  <a:moveTo>
                    <a:pt x="0" y="0"/>
                  </a:moveTo>
                  <a:lnTo>
                    <a:pt x="538480" y="0"/>
                  </a:lnTo>
                  <a:lnTo>
                    <a:pt x="538480" y="233680"/>
                  </a:lnTo>
                  <a:lnTo>
                    <a:pt x="0" y="233680"/>
                  </a:lnTo>
                  <a:close/>
                </a:path>
              </a:pathLst>
            </a:cu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0990C55-0A66-82D8-F468-B3E71C880C41}"/>
                </a:ext>
              </a:extLst>
            </p:cNvPr>
            <p:cNvGrpSpPr/>
            <p:nvPr userDrawn="1"/>
          </p:nvGrpSpPr>
          <p:grpSpPr>
            <a:xfrm>
              <a:off x="12598400" y="6054514"/>
              <a:ext cx="833967" cy="541456"/>
              <a:chOff x="12585700" y="6121400"/>
              <a:chExt cx="833967" cy="541456"/>
            </a:xfrm>
          </p:grpSpPr>
          <p:pic>
            <p:nvPicPr>
              <p:cNvPr id="18" name="Picture 2">
                <a:extLst>
                  <a:ext uri="{FF2B5EF4-FFF2-40B4-BE49-F238E27FC236}">
                    <a16:creationId xmlns:a16="http://schemas.microsoft.com/office/drawing/2014/main" id="{3AEF32A3-382C-B1AC-3AC7-C4D38D4B755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85700" y="6121400"/>
                <a:ext cx="833967" cy="5414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58B7075-DFA4-FD08-29B2-A2110BC23927}"/>
                  </a:ext>
                </a:extLst>
              </p:cNvPr>
              <p:cNvSpPr/>
              <p:nvPr/>
            </p:nvSpPr>
            <p:spPr>
              <a:xfrm>
                <a:off x="12699270" y="6154738"/>
                <a:ext cx="226156" cy="91385"/>
              </a:xfrm>
              <a:prstGeom prst="rect">
                <a:avLst/>
              </a:prstGeom>
              <a:noFill/>
              <a:ln>
                <a:solidFill>
                  <a:srgbClr val="DA291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26C4374-BB8B-CA6D-9A4C-E3F74A433249}"/>
                  </a:ext>
                </a:extLst>
              </p:cNvPr>
              <p:cNvSpPr/>
              <p:nvPr userDrawn="1"/>
            </p:nvSpPr>
            <p:spPr>
              <a:xfrm>
                <a:off x="13179219" y="6412700"/>
                <a:ext cx="147839" cy="102400"/>
              </a:xfrm>
              <a:prstGeom prst="rect">
                <a:avLst/>
              </a:prstGeom>
              <a:noFill/>
              <a:ln>
                <a:solidFill>
                  <a:srgbClr val="DA291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67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079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17C5FF-0BB6-D8D6-AE85-A08D4A9073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486127"/>
            <a:ext cx="2957208" cy="5885746"/>
          </a:xfrm>
          <a:custGeom>
            <a:avLst/>
            <a:gdLst>
              <a:gd name="connsiteX0" fmla="*/ 0 w 2957208"/>
              <a:gd name="connsiteY0" fmla="*/ 0 h 5885746"/>
              <a:gd name="connsiteX1" fmla="*/ 14335 w 2957208"/>
              <a:gd name="connsiteY1" fmla="*/ 0 h 5885746"/>
              <a:gd name="connsiteX2" fmla="*/ 2957208 w 2957208"/>
              <a:gd name="connsiteY2" fmla="*/ 2942873 h 5885746"/>
              <a:gd name="connsiteX3" fmla="*/ 2957207 w 2957208"/>
              <a:gd name="connsiteY3" fmla="*/ 2942873 h 5885746"/>
              <a:gd name="connsiteX4" fmla="*/ 14334 w 2957208"/>
              <a:gd name="connsiteY4" fmla="*/ 5885746 h 5885746"/>
              <a:gd name="connsiteX5" fmla="*/ 0 w 2957208"/>
              <a:gd name="connsiteY5" fmla="*/ 5885746 h 588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57208" h="5885746">
                <a:moveTo>
                  <a:pt x="0" y="0"/>
                </a:moveTo>
                <a:lnTo>
                  <a:pt x="14335" y="0"/>
                </a:lnTo>
                <a:cubicBezTo>
                  <a:pt x="1639639" y="0"/>
                  <a:pt x="2957208" y="1317569"/>
                  <a:pt x="2957208" y="2942873"/>
                </a:cubicBezTo>
                <a:lnTo>
                  <a:pt x="2957207" y="2942873"/>
                </a:lnTo>
                <a:cubicBezTo>
                  <a:pt x="2957207" y="4568177"/>
                  <a:pt x="1639638" y="5885746"/>
                  <a:pt x="14334" y="5885746"/>
                </a:cubicBezTo>
                <a:lnTo>
                  <a:pt x="0" y="5885746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FB998AD-8D30-E11E-F31A-9DB440E709B9}"/>
              </a:ext>
            </a:extLst>
          </p:cNvPr>
          <p:cNvSpPr/>
          <p:nvPr userDrawn="1"/>
        </p:nvSpPr>
        <p:spPr>
          <a:xfrm>
            <a:off x="10285918" y="1515906"/>
            <a:ext cx="1906082" cy="3826188"/>
          </a:xfrm>
          <a:custGeom>
            <a:avLst/>
            <a:gdLst>
              <a:gd name="connsiteX0" fmla="*/ 1906082 w 1906082"/>
              <a:gd name="connsiteY0" fmla="*/ 0 h 3826188"/>
              <a:gd name="connsiteX1" fmla="*/ 1906082 w 1906082"/>
              <a:gd name="connsiteY1" fmla="*/ 3826188 h 3826188"/>
              <a:gd name="connsiteX2" fmla="*/ 1717826 w 1906082"/>
              <a:gd name="connsiteY2" fmla="*/ 3816682 h 3826188"/>
              <a:gd name="connsiteX3" fmla="*/ 0 w 1906082"/>
              <a:gd name="connsiteY3" fmla="*/ 1913094 h 3826188"/>
              <a:gd name="connsiteX4" fmla="*/ 1717826 w 1906082"/>
              <a:gd name="connsiteY4" fmla="*/ 9506 h 3826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6082" h="3826188">
                <a:moveTo>
                  <a:pt x="1906082" y="0"/>
                </a:moveTo>
                <a:lnTo>
                  <a:pt x="1906082" y="3826188"/>
                </a:lnTo>
                <a:lnTo>
                  <a:pt x="1717826" y="3816682"/>
                </a:lnTo>
                <a:cubicBezTo>
                  <a:pt x="752949" y="3718694"/>
                  <a:pt x="0" y="2903825"/>
                  <a:pt x="0" y="1913094"/>
                </a:cubicBezTo>
                <a:cubicBezTo>
                  <a:pt x="0" y="922364"/>
                  <a:pt x="752949" y="107495"/>
                  <a:pt x="1717826" y="95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4698F2DD-4D97-8D7A-5BEC-E5396E6DFD14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60095" y="611533"/>
            <a:ext cx="2212298" cy="399963"/>
          </a:xfrm>
          <a:prstGeom prst="rect">
            <a:avLst/>
          </a:prstGeom>
        </p:spPr>
      </p:pic>
      <p:sp>
        <p:nvSpPr>
          <p:cNvPr id="31" name="Subtitle 2">
            <a:extLst>
              <a:ext uri="{FF2B5EF4-FFF2-40B4-BE49-F238E27FC236}">
                <a16:creationId xmlns:a16="http://schemas.microsoft.com/office/drawing/2014/main" id="{584AC4A0-A7FD-554D-C5E0-580CC43AD9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67100" y="22574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555A42D2-18FC-DFFB-5DB3-DF592BF30F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467100" y="2844800"/>
            <a:ext cx="6324600" cy="2171700"/>
          </a:xfrm>
          <a:prstGeom prst="rect">
            <a:avLst/>
          </a:prstGeom>
        </p:spPr>
        <p:txBody>
          <a:bodyPr vert="horz" anchor="t" anchorCtr="0"/>
          <a:lstStyle>
            <a:lvl1pPr>
              <a:lnSpc>
                <a:spcPct val="100000"/>
              </a:lnSpc>
              <a:defRPr sz="44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</a:t>
            </a:r>
            <a:br>
              <a:rPr lang="en-US"/>
            </a:br>
            <a:r>
              <a:rPr lang="en-US"/>
              <a:t>Noto Sans Light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2977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3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99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F340A53-0350-F53E-7D51-923BC4C86D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01581" y="0"/>
            <a:ext cx="4890421" cy="4391066"/>
          </a:xfrm>
          <a:custGeom>
            <a:avLst/>
            <a:gdLst>
              <a:gd name="connsiteX0" fmla="*/ 1083662 w 4890421"/>
              <a:gd name="connsiteY0" fmla="*/ 0 h 4391066"/>
              <a:gd name="connsiteX1" fmla="*/ 4890421 w 4890421"/>
              <a:gd name="connsiteY1" fmla="*/ 0 h 4391066"/>
              <a:gd name="connsiteX2" fmla="*/ 4890421 w 4890421"/>
              <a:gd name="connsiteY2" fmla="*/ 2808049 h 4391066"/>
              <a:gd name="connsiteX3" fmla="*/ 3992391 w 4890421"/>
              <a:gd name="connsiteY3" fmla="*/ 3706080 h 4391066"/>
              <a:gd name="connsiteX4" fmla="*/ 684986 w 4890421"/>
              <a:gd name="connsiteY4" fmla="*/ 3706080 h 4391066"/>
              <a:gd name="connsiteX5" fmla="*/ 684986 w 4890421"/>
              <a:gd name="connsiteY5" fmla="*/ 398676 h 4391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0421" h="4391066">
                <a:moveTo>
                  <a:pt x="1083662" y="0"/>
                </a:moveTo>
                <a:lnTo>
                  <a:pt x="4890421" y="0"/>
                </a:lnTo>
                <a:lnTo>
                  <a:pt x="4890421" y="2808049"/>
                </a:lnTo>
                <a:lnTo>
                  <a:pt x="3992391" y="3706080"/>
                </a:lnTo>
                <a:cubicBezTo>
                  <a:pt x="3079076" y="4619395"/>
                  <a:pt x="1598301" y="4619395"/>
                  <a:pt x="684986" y="3706080"/>
                </a:cubicBezTo>
                <a:cubicBezTo>
                  <a:pt x="-228328" y="2792765"/>
                  <a:pt x="-228328" y="1311990"/>
                  <a:pt x="684986" y="398676"/>
                </a:cubicBez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B9159B2-9CF1-9E05-5FA7-5B81E7F195E7}"/>
              </a:ext>
            </a:extLst>
          </p:cNvPr>
          <p:cNvSpPr/>
          <p:nvPr userDrawn="1"/>
        </p:nvSpPr>
        <p:spPr>
          <a:xfrm>
            <a:off x="486075" y="5000653"/>
            <a:ext cx="4077476" cy="1857348"/>
          </a:xfrm>
          <a:custGeom>
            <a:avLst/>
            <a:gdLst>
              <a:gd name="connsiteX0" fmla="*/ 2507608 w 4077476"/>
              <a:gd name="connsiteY0" fmla="*/ 0 h 1857348"/>
              <a:gd name="connsiteX1" fmla="*/ 3617672 w 4077476"/>
              <a:gd name="connsiteY1" fmla="*/ 459804 h 1857348"/>
              <a:gd name="connsiteX2" fmla="*/ 4077476 w 4077476"/>
              <a:gd name="connsiteY2" fmla="*/ 1569868 h 1857348"/>
              <a:gd name="connsiteX3" fmla="*/ 4049922 w 4077476"/>
              <a:gd name="connsiteY3" fmla="*/ 1857348 h 1857348"/>
              <a:gd name="connsiteX4" fmla="*/ 0 w 4077476"/>
              <a:gd name="connsiteY4" fmla="*/ 1857348 h 1857348"/>
              <a:gd name="connsiteX5" fmla="*/ 1397545 w 4077476"/>
              <a:gd name="connsiteY5" fmla="*/ 459804 h 1857348"/>
              <a:gd name="connsiteX6" fmla="*/ 2507608 w 4077476"/>
              <a:gd name="connsiteY6" fmla="*/ 0 h 1857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476" h="1857348">
                <a:moveTo>
                  <a:pt x="2507608" y="0"/>
                </a:moveTo>
                <a:cubicBezTo>
                  <a:pt x="2909372" y="0"/>
                  <a:pt x="3311136" y="153268"/>
                  <a:pt x="3617672" y="459804"/>
                </a:cubicBezTo>
                <a:cubicBezTo>
                  <a:pt x="3924208" y="766340"/>
                  <a:pt x="4077476" y="1168104"/>
                  <a:pt x="4077476" y="1569868"/>
                </a:cubicBezTo>
                <a:lnTo>
                  <a:pt x="4049922" y="1857348"/>
                </a:lnTo>
                <a:lnTo>
                  <a:pt x="0" y="1857348"/>
                </a:lnTo>
                <a:lnTo>
                  <a:pt x="1397545" y="459804"/>
                </a:lnTo>
                <a:cubicBezTo>
                  <a:pt x="1704080" y="153268"/>
                  <a:pt x="2105844" y="0"/>
                  <a:pt x="25076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31F9952-3096-5EB4-195E-E111EF3DA7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8096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5279600-C9F1-CF2F-5C8E-97EEA785D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0269" y="1308100"/>
            <a:ext cx="6324600" cy="2171700"/>
          </a:xfrm>
          <a:prstGeom prst="rect">
            <a:avLst/>
          </a:prstGeom>
        </p:spPr>
        <p:txBody>
          <a:bodyPr vert="horz" anchor="t" anchorCtr="0"/>
          <a:lstStyle>
            <a:lvl1pPr>
              <a:lnSpc>
                <a:spcPct val="100000"/>
              </a:lnSpc>
              <a:defRPr sz="44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</a:t>
            </a:r>
            <a:br>
              <a:rPr lang="en-US"/>
            </a:br>
            <a:r>
              <a:rPr lang="en-US"/>
              <a:t>Noto Sans Light sentence cas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C8615EA-924C-6B9D-68EB-D8BBB5ECB831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60095" y="5843933"/>
            <a:ext cx="2212298" cy="399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6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410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054152A-0AC2-B35F-B3CA-D6B593C009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300" y="673100"/>
            <a:ext cx="10909300" cy="2463800"/>
          </a:xfrm>
          <a:custGeom>
            <a:avLst/>
            <a:gdLst>
              <a:gd name="connsiteX0" fmla="*/ 1231900 w 10909300"/>
              <a:gd name="connsiteY0" fmla="*/ 0 h 2463800"/>
              <a:gd name="connsiteX1" fmla="*/ 9677400 w 10909300"/>
              <a:gd name="connsiteY1" fmla="*/ 0 h 2463800"/>
              <a:gd name="connsiteX2" fmla="*/ 10909300 w 10909300"/>
              <a:gd name="connsiteY2" fmla="*/ 1231900 h 2463800"/>
              <a:gd name="connsiteX3" fmla="*/ 9677400 w 10909300"/>
              <a:gd name="connsiteY3" fmla="*/ 2463800 h 2463800"/>
              <a:gd name="connsiteX4" fmla="*/ 1231900 w 10909300"/>
              <a:gd name="connsiteY4" fmla="*/ 2463800 h 2463800"/>
              <a:gd name="connsiteX5" fmla="*/ 0 w 10909300"/>
              <a:gd name="connsiteY5" fmla="*/ 1231900 h 2463800"/>
              <a:gd name="connsiteX6" fmla="*/ 1231900 w 10909300"/>
              <a:gd name="connsiteY6" fmla="*/ 0 h 246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9300" h="2463800">
                <a:moveTo>
                  <a:pt x="1231900" y="0"/>
                </a:moveTo>
                <a:lnTo>
                  <a:pt x="9677400" y="0"/>
                </a:lnTo>
                <a:cubicBezTo>
                  <a:pt x="10357760" y="0"/>
                  <a:pt x="10909300" y="551540"/>
                  <a:pt x="10909300" y="1231900"/>
                </a:cubicBezTo>
                <a:cubicBezTo>
                  <a:pt x="10909300" y="1912260"/>
                  <a:pt x="10357760" y="2463800"/>
                  <a:pt x="9677400" y="2463800"/>
                </a:cubicBezTo>
                <a:lnTo>
                  <a:pt x="1231900" y="2463800"/>
                </a:lnTo>
                <a:cubicBezTo>
                  <a:pt x="551540" y="2463800"/>
                  <a:pt x="0" y="1912260"/>
                  <a:pt x="0" y="1231900"/>
                </a:cubicBezTo>
                <a:cubicBezTo>
                  <a:pt x="0" y="551540"/>
                  <a:pt x="551540" y="0"/>
                  <a:pt x="1231900" y="0"/>
                </a:cubicBez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4698F2DD-4D97-8D7A-5BEC-E5396E6DFD14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60095" y="5843933"/>
            <a:ext cx="2212298" cy="399963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555A42D2-18FC-DFFB-5DB3-DF592BF30F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703173" y="3657600"/>
            <a:ext cx="8785654" cy="144655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Noto </a:t>
            </a:r>
            <a:br>
              <a:rPr lang="en-US"/>
            </a:br>
            <a:r>
              <a:rPr lang="en-US"/>
              <a:t>Sans Light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62183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8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64657C8-34AC-81B6-5C51-BB17F9686E24}"/>
              </a:ext>
            </a:extLst>
          </p:cNvPr>
          <p:cNvSpPr/>
          <p:nvPr userDrawn="1"/>
        </p:nvSpPr>
        <p:spPr>
          <a:xfrm rot="5400000">
            <a:off x="-17144" y="2760344"/>
            <a:ext cx="4114801" cy="4080511"/>
          </a:xfrm>
          <a:custGeom>
            <a:avLst/>
            <a:gdLst>
              <a:gd name="connsiteX0" fmla="*/ 0 w 4114801"/>
              <a:gd name="connsiteY0" fmla="*/ 4080511 h 4080511"/>
              <a:gd name="connsiteX1" fmla="*/ 0 w 4114801"/>
              <a:gd name="connsiteY1" fmla="*/ 2051686 h 4080511"/>
              <a:gd name="connsiteX2" fmla="*/ 2051686 w 4114801"/>
              <a:gd name="connsiteY2" fmla="*/ 0 h 4080511"/>
              <a:gd name="connsiteX3" fmla="*/ 2063115 w 4114801"/>
              <a:gd name="connsiteY3" fmla="*/ 0 h 4080511"/>
              <a:gd name="connsiteX4" fmla="*/ 4114801 w 4114801"/>
              <a:gd name="connsiteY4" fmla="*/ 2051686 h 4080511"/>
              <a:gd name="connsiteX5" fmla="*/ 4114800 w 4114801"/>
              <a:gd name="connsiteY5" fmla="*/ 4080511 h 4080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14801" h="4080511">
                <a:moveTo>
                  <a:pt x="0" y="4080511"/>
                </a:moveTo>
                <a:lnTo>
                  <a:pt x="0" y="2051686"/>
                </a:lnTo>
                <a:cubicBezTo>
                  <a:pt x="0" y="918571"/>
                  <a:pt x="918571" y="0"/>
                  <a:pt x="2051686" y="0"/>
                </a:cubicBezTo>
                <a:lnTo>
                  <a:pt x="2063115" y="0"/>
                </a:lnTo>
                <a:cubicBezTo>
                  <a:pt x="3196230" y="0"/>
                  <a:pt x="4114801" y="918571"/>
                  <a:pt x="4114801" y="2051686"/>
                </a:cubicBezTo>
                <a:lnTo>
                  <a:pt x="4114800" y="4080511"/>
                </a:lnTo>
                <a:close/>
              </a:path>
            </a:pathLst>
          </a:custGeom>
          <a:gradFill flip="none" rotWithShape="1">
            <a:gsLst>
              <a:gs pos="65000">
                <a:srgbClr val="140A42"/>
              </a:gs>
              <a:gs pos="0">
                <a:srgbClr val="00CCFF"/>
              </a:gs>
            </a:gsLst>
            <a:lin ang="8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194BBB78-5FF7-C366-70FD-3AF06FA9E09B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60095" y="611533"/>
            <a:ext cx="2212298" cy="399963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FE5ABEB-7B35-8213-C6F0-6497298925D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948370" y="2594609"/>
            <a:ext cx="4624024" cy="2739391"/>
          </a:xfrm>
          <a:prstGeom prst="rect">
            <a:avLst/>
          </a:prstGeom>
        </p:spPr>
        <p:txBody>
          <a:bodyPr vert="horz" anchor="t" anchorCtr="0"/>
          <a:lstStyle>
            <a:lvl1pPr>
              <a:lnSpc>
                <a:spcPct val="100000"/>
              </a:lnSpc>
              <a:defRPr sz="44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Noto Sans Light sentence cas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254D77-8314-1D63-56AD-419C890F53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327139" cy="5552111"/>
          </a:xfrm>
          <a:custGeom>
            <a:avLst/>
            <a:gdLst>
              <a:gd name="connsiteX0" fmla="*/ 0 w 6327139"/>
              <a:gd name="connsiteY0" fmla="*/ 0 h 5552111"/>
              <a:gd name="connsiteX1" fmla="*/ 6327139 w 6327139"/>
              <a:gd name="connsiteY1" fmla="*/ 0 h 5552111"/>
              <a:gd name="connsiteX2" fmla="*/ 6327139 w 6327139"/>
              <a:gd name="connsiteY2" fmla="*/ 2377111 h 5552111"/>
              <a:gd name="connsiteX3" fmla="*/ 3152139 w 6327139"/>
              <a:gd name="connsiteY3" fmla="*/ 5552111 h 5552111"/>
              <a:gd name="connsiteX4" fmla="*/ 13723 w 6327139"/>
              <a:gd name="connsiteY4" fmla="*/ 2860632 h 5552111"/>
              <a:gd name="connsiteX5" fmla="*/ 0 w 6327139"/>
              <a:gd name="connsiteY5" fmla="*/ 2752636 h 555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27139" h="5552111">
                <a:moveTo>
                  <a:pt x="0" y="0"/>
                </a:moveTo>
                <a:lnTo>
                  <a:pt x="6327139" y="0"/>
                </a:lnTo>
                <a:lnTo>
                  <a:pt x="6327139" y="2377111"/>
                </a:lnTo>
                <a:cubicBezTo>
                  <a:pt x="6327139" y="4130615"/>
                  <a:pt x="4905643" y="5552111"/>
                  <a:pt x="3152139" y="5552111"/>
                </a:cubicBezTo>
                <a:cubicBezTo>
                  <a:pt x="1563027" y="5552111"/>
                  <a:pt x="246589" y="4384652"/>
                  <a:pt x="13723" y="2860632"/>
                </a:cubicBezTo>
                <a:lnTo>
                  <a:pt x="0" y="2752636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 wrap="square" lIns="3566160" anchor="ctr">
            <a:noAutofit/>
          </a:bodyPr>
          <a:lstStyle>
            <a:lvl1pPr marL="0" indent="0" algn="ctr">
              <a:buNone/>
              <a:defRPr sz="18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8296AAA-9AC5-C0EC-9897-4E4D0D105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2743200"/>
            <a:ext cx="4080512" cy="2808911"/>
          </a:xfrm>
          <a:custGeom>
            <a:avLst/>
            <a:gdLst>
              <a:gd name="connsiteX0" fmla="*/ 0 w 4080512"/>
              <a:gd name="connsiteY0" fmla="*/ 0 h 2808911"/>
              <a:gd name="connsiteX1" fmla="*/ 2028826 w 4080512"/>
              <a:gd name="connsiteY1" fmla="*/ 0 h 2808911"/>
              <a:gd name="connsiteX2" fmla="*/ 4080512 w 4080512"/>
              <a:gd name="connsiteY2" fmla="*/ 2051686 h 2808911"/>
              <a:gd name="connsiteX3" fmla="*/ 4080512 w 4080512"/>
              <a:gd name="connsiteY3" fmla="*/ 2063115 h 2808911"/>
              <a:gd name="connsiteX4" fmla="*/ 3988272 w 4080512"/>
              <a:gd name="connsiteY4" fmla="*/ 2673224 h 2808911"/>
              <a:gd name="connsiteX5" fmla="*/ 3978625 w 4080512"/>
              <a:gd name="connsiteY5" fmla="*/ 2699582 h 2808911"/>
              <a:gd name="connsiteX6" fmla="*/ 3945622 w 4080512"/>
              <a:gd name="connsiteY6" fmla="*/ 2708954 h 2808911"/>
              <a:gd name="connsiteX7" fmla="*/ 3152140 w 4080512"/>
              <a:gd name="connsiteY7" fmla="*/ 2808911 h 2808911"/>
              <a:gd name="connsiteX8" fmla="*/ 13723 w 4080512"/>
              <a:gd name="connsiteY8" fmla="*/ 117432 h 2808911"/>
              <a:gd name="connsiteX9" fmla="*/ 0 w 4080512"/>
              <a:gd name="connsiteY9" fmla="*/ 9436 h 2808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80512" h="2808911">
                <a:moveTo>
                  <a:pt x="0" y="0"/>
                </a:moveTo>
                <a:lnTo>
                  <a:pt x="2028826" y="0"/>
                </a:lnTo>
                <a:cubicBezTo>
                  <a:pt x="3161941" y="0"/>
                  <a:pt x="4080513" y="918572"/>
                  <a:pt x="4080512" y="2051686"/>
                </a:cubicBezTo>
                <a:lnTo>
                  <a:pt x="4080512" y="2063115"/>
                </a:lnTo>
                <a:cubicBezTo>
                  <a:pt x="4080512" y="2275574"/>
                  <a:pt x="4048219" y="2480491"/>
                  <a:pt x="3988272" y="2673224"/>
                </a:cubicBezTo>
                <a:lnTo>
                  <a:pt x="3978625" y="2699582"/>
                </a:lnTo>
                <a:lnTo>
                  <a:pt x="3945622" y="2708954"/>
                </a:lnTo>
                <a:cubicBezTo>
                  <a:pt x="3692005" y="2774207"/>
                  <a:pt x="3426125" y="2808911"/>
                  <a:pt x="3152140" y="2808911"/>
                </a:cubicBezTo>
                <a:cubicBezTo>
                  <a:pt x="1563027" y="2808911"/>
                  <a:pt x="246589" y="1641452"/>
                  <a:pt x="13723" y="117432"/>
                </a:cubicBezTo>
                <a:lnTo>
                  <a:pt x="0" y="9436"/>
                </a:lnTo>
                <a:close/>
              </a:path>
            </a:pathLst>
          </a:custGeom>
          <a:solidFill>
            <a:srgbClr val="00CC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0" lvl="0"/>
            <a:r>
              <a:rPr lang="en-US"/>
              <a:t>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E3113A-26C0-984B-11CB-789A7AFB2ED7}"/>
              </a:ext>
            </a:extLst>
          </p:cNvPr>
          <p:cNvGrpSpPr/>
          <p:nvPr userDrawn="1"/>
        </p:nvGrpSpPr>
        <p:grpSpPr>
          <a:xfrm>
            <a:off x="12323965" y="3876462"/>
            <a:ext cx="2089689" cy="3212677"/>
            <a:chOff x="12323965" y="3876462"/>
            <a:chExt cx="2089689" cy="32126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302882-B07A-5399-657A-08126A085FAA}"/>
                </a:ext>
              </a:extLst>
            </p:cNvPr>
            <p:cNvSpPr/>
            <p:nvPr/>
          </p:nvSpPr>
          <p:spPr>
            <a:xfrm>
              <a:off x="12323965" y="3876462"/>
              <a:ext cx="2089689" cy="3212677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Instructions to change the image follow below steps: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1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Please move the masked shapes from top of the image placeholder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2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Click on the </a:t>
              </a:r>
              <a:b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image icon 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3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Select the image to be replaced and then click on Insert option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4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Once the image is replaced, Goto </a:t>
              </a:r>
              <a:b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Home =&gt; Reset option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Step 5: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 Shape/masked  layers will be readjusted on the slide and ready to use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CC58985-0C3C-097C-1F60-A1A44B3F6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694135" y="4756344"/>
              <a:ext cx="197126" cy="174381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04BF919-0125-F0D1-D738-4F4B0976D7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3834532" y="5786295"/>
              <a:ext cx="491067" cy="213105"/>
            </a:xfrm>
            <a:custGeom>
              <a:avLst/>
              <a:gdLst>
                <a:gd name="connsiteX0" fmla="*/ 0 w 538480"/>
                <a:gd name="connsiteY0" fmla="*/ 0 h 233680"/>
                <a:gd name="connsiteX1" fmla="*/ 538480 w 538480"/>
                <a:gd name="connsiteY1" fmla="*/ 0 h 233680"/>
                <a:gd name="connsiteX2" fmla="*/ 538480 w 538480"/>
                <a:gd name="connsiteY2" fmla="*/ 233680 h 233680"/>
                <a:gd name="connsiteX3" fmla="*/ 0 w 538480"/>
                <a:gd name="connsiteY3" fmla="*/ 233680 h 23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480" h="233680">
                  <a:moveTo>
                    <a:pt x="0" y="0"/>
                  </a:moveTo>
                  <a:lnTo>
                    <a:pt x="538480" y="0"/>
                  </a:lnTo>
                  <a:lnTo>
                    <a:pt x="538480" y="233680"/>
                  </a:lnTo>
                  <a:lnTo>
                    <a:pt x="0" y="233680"/>
                  </a:lnTo>
                  <a:close/>
                </a:path>
              </a:pathLst>
            </a:cu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D3F27F7-BE73-4095-86A6-D508C1A94F63}"/>
                </a:ext>
              </a:extLst>
            </p:cNvPr>
            <p:cNvGrpSpPr/>
            <p:nvPr userDrawn="1"/>
          </p:nvGrpSpPr>
          <p:grpSpPr>
            <a:xfrm>
              <a:off x="12598400" y="6054514"/>
              <a:ext cx="833967" cy="541456"/>
              <a:chOff x="12585700" y="6121400"/>
              <a:chExt cx="833967" cy="541456"/>
            </a:xfrm>
          </p:grpSpPr>
          <p:pic>
            <p:nvPicPr>
              <p:cNvPr id="18" name="Picture 2">
                <a:extLst>
                  <a:ext uri="{FF2B5EF4-FFF2-40B4-BE49-F238E27FC236}">
                    <a16:creationId xmlns:a16="http://schemas.microsoft.com/office/drawing/2014/main" id="{D15BDCEA-34E9-D41E-A765-98D13F56C2E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85700" y="6121400"/>
                <a:ext cx="833967" cy="5414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9A0D4E4-097B-6261-3752-47CD008405BE}"/>
                  </a:ext>
                </a:extLst>
              </p:cNvPr>
              <p:cNvSpPr/>
              <p:nvPr/>
            </p:nvSpPr>
            <p:spPr>
              <a:xfrm>
                <a:off x="12699270" y="6154738"/>
                <a:ext cx="226156" cy="91385"/>
              </a:xfrm>
              <a:prstGeom prst="rect">
                <a:avLst/>
              </a:prstGeom>
              <a:noFill/>
              <a:ln>
                <a:solidFill>
                  <a:srgbClr val="DA291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4A461E1A-178C-C568-796D-F6D8764F4046}"/>
                  </a:ext>
                </a:extLst>
              </p:cNvPr>
              <p:cNvSpPr/>
              <p:nvPr userDrawn="1"/>
            </p:nvSpPr>
            <p:spPr>
              <a:xfrm>
                <a:off x="13179219" y="6412700"/>
                <a:ext cx="147839" cy="102400"/>
              </a:xfrm>
              <a:prstGeom prst="rect">
                <a:avLst/>
              </a:prstGeom>
              <a:noFill/>
              <a:ln>
                <a:solidFill>
                  <a:srgbClr val="DA291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851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57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9296F-DACA-9046-F9F0-2407339F5BBF}"/>
              </a:ext>
            </a:extLst>
          </p:cNvPr>
          <p:cNvSpPr/>
          <p:nvPr userDrawn="1"/>
        </p:nvSpPr>
        <p:spPr>
          <a:xfrm>
            <a:off x="0" y="241300"/>
            <a:ext cx="11861800" cy="6362700"/>
          </a:xfrm>
          <a:custGeom>
            <a:avLst/>
            <a:gdLst>
              <a:gd name="connsiteX0" fmla="*/ 0 w 11861800"/>
              <a:gd name="connsiteY0" fmla="*/ 0 h 6362700"/>
              <a:gd name="connsiteX1" fmla="*/ 11042602 w 11861800"/>
              <a:gd name="connsiteY1" fmla="*/ 0 h 6362700"/>
              <a:gd name="connsiteX2" fmla="*/ 11861800 w 11861800"/>
              <a:gd name="connsiteY2" fmla="*/ 819198 h 6362700"/>
              <a:gd name="connsiteX3" fmla="*/ 11861800 w 11861800"/>
              <a:gd name="connsiteY3" fmla="*/ 5543502 h 6362700"/>
              <a:gd name="connsiteX4" fmla="*/ 11042602 w 11861800"/>
              <a:gd name="connsiteY4" fmla="*/ 6362700 h 6362700"/>
              <a:gd name="connsiteX5" fmla="*/ 0 w 11861800"/>
              <a:gd name="connsiteY5" fmla="*/ 6362700 h 6362700"/>
              <a:gd name="connsiteX0" fmla="*/ 0 w 11861800"/>
              <a:gd name="connsiteY0" fmla="*/ 0 h 6362700"/>
              <a:gd name="connsiteX1" fmla="*/ 11042602 w 11861800"/>
              <a:gd name="connsiteY1" fmla="*/ 0 h 6362700"/>
              <a:gd name="connsiteX2" fmla="*/ 11861800 w 11861800"/>
              <a:gd name="connsiteY2" fmla="*/ 819198 h 6362700"/>
              <a:gd name="connsiteX3" fmla="*/ 11861800 w 11861800"/>
              <a:gd name="connsiteY3" fmla="*/ 5543502 h 6362700"/>
              <a:gd name="connsiteX4" fmla="*/ 11042602 w 11861800"/>
              <a:gd name="connsiteY4" fmla="*/ 6362700 h 6362700"/>
              <a:gd name="connsiteX5" fmla="*/ 0 w 11861800"/>
              <a:gd name="connsiteY5" fmla="*/ 6362700 h 6362700"/>
              <a:gd name="connsiteX6" fmla="*/ 91440 w 11861800"/>
              <a:gd name="connsiteY6" fmla="*/ 91440 h 6362700"/>
              <a:gd name="connsiteX0" fmla="*/ 0 w 11861800"/>
              <a:gd name="connsiteY0" fmla="*/ 0 h 6362700"/>
              <a:gd name="connsiteX1" fmla="*/ 11042602 w 11861800"/>
              <a:gd name="connsiteY1" fmla="*/ 0 h 6362700"/>
              <a:gd name="connsiteX2" fmla="*/ 11861800 w 11861800"/>
              <a:gd name="connsiteY2" fmla="*/ 819198 h 6362700"/>
              <a:gd name="connsiteX3" fmla="*/ 11861800 w 11861800"/>
              <a:gd name="connsiteY3" fmla="*/ 5543502 h 6362700"/>
              <a:gd name="connsiteX4" fmla="*/ 11042602 w 11861800"/>
              <a:gd name="connsiteY4" fmla="*/ 6362700 h 6362700"/>
              <a:gd name="connsiteX5" fmla="*/ 0 w 11861800"/>
              <a:gd name="connsiteY5" fmla="*/ 6362700 h 636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61800" h="6362700">
                <a:moveTo>
                  <a:pt x="0" y="0"/>
                </a:moveTo>
                <a:lnTo>
                  <a:pt x="11042602" y="0"/>
                </a:lnTo>
                <a:cubicBezTo>
                  <a:pt x="11495033" y="0"/>
                  <a:pt x="11861800" y="366767"/>
                  <a:pt x="11861800" y="819198"/>
                </a:cubicBezTo>
                <a:lnTo>
                  <a:pt x="11861800" y="5543502"/>
                </a:lnTo>
                <a:cubicBezTo>
                  <a:pt x="11861800" y="5995933"/>
                  <a:pt x="11495033" y="6362700"/>
                  <a:pt x="11042602" y="6362700"/>
                </a:cubicBezTo>
                <a:lnTo>
                  <a:pt x="0" y="6362700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08C8038-FA73-08C5-C7EC-459DEC5181D5}"/>
              </a:ext>
            </a:extLst>
          </p:cNvPr>
          <p:cNvSpPr/>
          <p:nvPr userDrawn="1"/>
        </p:nvSpPr>
        <p:spPr>
          <a:xfrm rot="2700000">
            <a:off x="9238214" y="-735198"/>
            <a:ext cx="2460591" cy="4778211"/>
          </a:xfrm>
          <a:custGeom>
            <a:avLst/>
            <a:gdLst>
              <a:gd name="connsiteX0" fmla="*/ 0 w 2460591"/>
              <a:gd name="connsiteY0" fmla="*/ 1280424 h 4778211"/>
              <a:gd name="connsiteX1" fmla="*/ 1280424 w 2460591"/>
              <a:gd name="connsiteY1" fmla="*/ 0 h 4778211"/>
              <a:gd name="connsiteX2" fmla="*/ 2460591 w 2460591"/>
              <a:gd name="connsiteY2" fmla="*/ 1180167 h 4778211"/>
              <a:gd name="connsiteX3" fmla="*/ 2460591 w 2460591"/>
              <a:gd name="connsiteY3" fmla="*/ 3547915 h 4778211"/>
              <a:gd name="connsiteX4" fmla="*/ 1230295 w 2460591"/>
              <a:gd name="connsiteY4" fmla="*/ 4778211 h 4778211"/>
              <a:gd name="connsiteX5" fmla="*/ 1230296 w 2460591"/>
              <a:gd name="connsiteY5" fmla="*/ 4778210 h 4778211"/>
              <a:gd name="connsiteX6" fmla="*/ 0 w 2460591"/>
              <a:gd name="connsiteY6" fmla="*/ 3547914 h 4778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60591" h="4778211">
                <a:moveTo>
                  <a:pt x="0" y="1280424"/>
                </a:moveTo>
                <a:lnTo>
                  <a:pt x="1280424" y="0"/>
                </a:lnTo>
                <a:lnTo>
                  <a:pt x="2460591" y="1180167"/>
                </a:lnTo>
                <a:lnTo>
                  <a:pt x="2460591" y="3547915"/>
                </a:lnTo>
                <a:cubicBezTo>
                  <a:pt x="2460591" y="4227389"/>
                  <a:pt x="1909769" y="4778211"/>
                  <a:pt x="1230295" y="4778211"/>
                </a:cubicBezTo>
                <a:lnTo>
                  <a:pt x="1230296" y="4778210"/>
                </a:lnTo>
                <a:cubicBezTo>
                  <a:pt x="550822" y="4778210"/>
                  <a:pt x="0" y="4227388"/>
                  <a:pt x="0" y="35479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A6F5794-85A7-17A2-FFC2-4D48EE025E27}"/>
              </a:ext>
            </a:extLst>
          </p:cNvPr>
          <p:cNvSpPr/>
          <p:nvPr userDrawn="1"/>
        </p:nvSpPr>
        <p:spPr>
          <a:xfrm rot="2700000">
            <a:off x="9018425" y="1722637"/>
            <a:ext cx="1400920" cy="308899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0DF1DF1-E612-7259-00E2-0E94AA9CD634}"/>
              </a:ext>
            </a:extLst>
          </p:cNvPr>
          <p:cNvSpPr/>
          <p:nvPr userDrawn="1"/>
        </p:nvSpPr>
        <p:spPr>
          <a:xfrm rot="2700000">
            <a:off x="11090780" y="1102947"/>
            <a:ext cx="573932" cy="2880691"/>
          </a:xfrm>
          <a:custGeom>
            <a:avLst/>
            <a:gdLst>
              <a:gd name="connsiteX0" fmla="*/ 0 w 573932"/>
              <a:gd name="connsiteY0" fmla="*/ 0 h 2880691"/>
              <a:gd name="connsiteX1" fmla="*/ 573932 w 573932"/>
              <a:gd name="connsiteY1" fmla="*/ 573932 h 2880691"/>
              <a:gd name="connsiteX2" fmla="*/ 573932 w 573932"/>
              <a:gd name="connsiteY2" fmla="*/ 2593725 h 2880691"/>
              <a:gd name="connsiteX3" fmla="*/ 286966 w 573932"/>
              <a:gd name="connsiteY3" fmla="*/ 2880691 h 2880691"/>
              <a:gd name="connsiteX4" fmla="*/ 0 w 573932"/>
              <a:gd name="connsiteY4" fmla="*/ 2593725 h 2880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932" h="2880691">
                <a:moveTo>
                  <a:pt x="0" y="0"/>
                </a:moveTo>
                <a:lnTo>
                  <a:pt x="573932" y="573932"/>
                </a:lnTo>
                <a:lnTo>
                  <a:pt x="573932" y="2593725"/>
                </a:lnTo>
                <a:cubicBezTo>
                  <a:pt x="573932" y="2752212"/>
                  <a:pt x="445453" y="2880691"/>
                  <a:pt x="286966" y="2880691"/>
                </a:cubicBezTo>
                <a:cubicBezTo>
                  <a:pt x="128479" y="2880691"/>
                  <a:pt x="0" y="2752212"/>
                  <a:pt x="0" y="259372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32A4BBE-9AC6-9A23-A558-3095FF713B79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6120" y="5218685"/>
            <a:ext cx="2212298" cy="39996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D57E1A5-6398-744B-9D89-B5FC950E8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0269" y="1265342"/>
            <a:ext cx="5650031" cy="2087458"/>
          </a:xfrm>
          <a:prstGeom prst="rect">
            <a:avLst/>
          </a:prstGeom>
        </p:spPr>
        <p:txBody>
          <a:bodyPr vert="horz" anchor="t" anchorCtr="0"/>
          <a:lstStyle>
            <a:lvl1pPr>
              <a:lnSpc>
                <a:spcPct val="100000"/>
              </a:lnSpc>
              <a:defRPr sz="4400" b="0">
                <a:solidFill>
                  <a:schemeClr val="tx2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</a:t>
            </a:r>
            <a:br>
              <a:rPr lang="en-US"/>
            </a:br>
            <a:r>
              <a:rPr lang="en-US"/>
              <a:t>Noto Sans Light sentence cas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D3BA533-3ADD-8D51-053C-1D0D9AD32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767271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sp>
        <p:nvSpPr>
          <p:cNvPr id="2" name="Picture Placeholder 41">
            <a:extLst>
              <a:ext uri="{FF2B5EF4-FFF2-40B4-BE49-F238E27FC236}">
                <a16:creationId xmlns:a16="http://schemas.microsoft.com/office/drawing/2014/main" id="{646C28D9-E3F6-9E2B-04BE-29A79EA666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667751" y="3414409"/>
            <a:ext cx="3194049" cy="3189591"/>
          </a:xfrm>
          <a:prstGeom prst="roundRect">
            <a:avLst>
              <a:gd name="adj" fmla="val 24829"/>
            </a:avLst>
          </a:prstGeom>
          <a:blipFill>
            <a:blip r:embed="rId6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717081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0572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59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06A038E8-64AE-8880-6663-5B5585D30CCB}"/>
              </a:ext>
            </a:extLst>
          </p:cNvPr>
          <p:cNvSpPr/>
          <p:nvPr userDrawn="1"/>
        </p:nvSpPr>
        <p:spPr>
          <a:xfrm rot="5400000">
            <a:off x="2133600" y="-1543050"/>
            <a:ext cx="5676900" cy="99441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0374AA-A7E2-AECE-1458-73409259AA40}"/>
              </a:ext>
            </a:extLst>
          </p:cNvPr>
          <p:cNvSpPr/>
          <p:nvPr userDrawn="1"/>
        </p:nvSpPr>
        <p:spPr>
          <a:xfrm>
            <a:off x="2" y="589788"/>
            <a:ext cx="2853043" cy="5678424"/>
          </a:xfrm>
          <a:custGeom>
            <a:avLst/>
            <a:gdLst>
              <a:gd name="connsiteX0" fmla="*/ 0 w 2853043"/>
              <a:gd name="connsiteY0" fmla="*/ 0 h 5678424"/>
              <a:gd name="connsiteX1" fmla="*/ 13830 w 2853043"/>
              <a:gd name="connsiteY1" fmla="*/ 0 h 5678424"/>
              <a:gd name="connsiteX2" fmla="*/ 2853043 w 2853043"/>
              <a:gd name="connsiteY2" fmla="*/ 2839212 h 5678424"/>
              <a:gd name="connsiteX3" fmla="*/ 2853042 w 2853043"/>
              <a:gd name="connsiteY3" fmla="*/ 2839212 h 5678424"/>
              <a:gd name="connsiteX4" fmla="*/ 13829 w 2853043"/>
              <a:gd name="connsiteY4" fmla="*/ 5678424 h 5678424"/>
              <a:gd name="connsiteX5" fmla="*/ 0 w 2853043"/>
              <a:gd name="connsiteY5" fmla="*/ 5678424 h 5678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3043" h="5678424">
                <a:moveTo>
                  <a:pt x="0" y="0"/>
                </a:moveTo>
                <a:lnTo>
                  <a:pt x="13830" y="0"/>
                </a:lnTo>
                <a:cubicBezTo>
                  <a:pt x="1581884" y="0"/>
                  <a:pt x="2853043" y="1271159"/>
                  <a:pt x="2853043" y="2839212"/>
                </a:cubicBezTo>
                <a:lnTo>
                  <a:pt x="2853042" y="2839212"/>
                </a:lnTo>
                <a:cubicBezTo>
                  <a:pt x="2853042" y="4407266"/>
                  <a:pt x="1581883" y="5678424"/>
                  <a:pt x="13829" y="5678424"/>
                </a:cubicBezTo>
                <a:lnTo>
                  <a:pt x="0" y="5678424"/>
                </a:lnTo>
                <a:close/>
              </a:path>
            </a:pathLst>
          </a:custGeom>
          <a:gradFill flip="none" rotWithShape="1">
            <a:gsLst>
              <a:gs pos="0">
                <a:srgbClr val="3E747E"/>
              </a:gs>
              <a:gs pos="98000">
                <a:srgbClr val="6CE5C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81C33A8-1F18-8162-5652-8392E5AF9164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60095" y="5843933"/>
            <a:ext cx="2212298" cy="399963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4411A8A4-6024-50CD-FEB3-D5754242D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54269" y="2400302"/>
            <a:ext cx="5446831" cy="2057398"/>
          </a:xfrm>
          <a:prstGeom prst="rect">
            <a:avLst/>
          </a:prstGeom>
        </p:spPr>
        <p:txBody>
          <a:bodyPr vert="horz" anchor="t" anchorCtr="0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</a:t>
            </a:r>
            <a:br>
              <a:rPr lang="en-US"/>
            </a:br>
            <a:r>
              <a:rPr lang="en-US"/>
              <a:t>Noto Sans Light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49291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6-08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864DD5-4E04-C014-88C4-72B74F205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81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64DD5-4E04-C014-88C4-72B74F205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6D66F840-DC3F-98E2-1515-EBA85FF8AB6E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3F9D131-ED47-159F-D2D8-EE9600953C46}"/>
              </a:ext>
            </a:extLst>
          </p:cNvPr>
          <p:cNvGrpSpPr/>
          <p:nvPr userDrawn="1"/>
        </p:nvGrpSpPr>
        <p:grpSpPr>
          <a:xfrm>
            <a:off x="6291548" y="469901"/>
            <a:ext cx="5651999" cy="5905499"/>
            <a:chOff x="-3636639" y="711200"/>
            <a:chExt cx="6563187" cy="6857555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B0CD13D-716D-C239-E3F7-94F356E4BDD1}"/>
                </a:ext>
              </a:extLst>
            </p:cNvPr>
            <p:cNvSpPr/>
            <p:nvPr/>
          </p:nvSpPr>
          <p:spPr>
            <a:xfrm>
              <a:off x="-2915180" y="711200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7" y="206053"/>
                    <a:pt x="920467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8E56412-5E8B-A1F9-6893-9684E967775D}"/>
                </a:ext>
              </a:extLst>
            </p:cNvPr>
            <p:cNvSpPr/>
            <p:nvPr/>
          </p:nvSpPr>
          <p:spPr>
            <a:xfrm>
              <a:off x="-1246696" y="711200"/>
              <a:ext cx="1666338" cy="920392"/>
            </a:xfrm>
            <a:custGeom>
              <a:avLst/>
              <a:gdLst>
                <a:gd name="connsiteX0" fmla="*/ 1206105 w 1666338"/>
                <a:gd name="connsiteY0" fmla="*/ 0 h 920392"/>
                <a:gd name="connsiteX1" fmla="*/ 1666339 w 1666338"/>
                <a:gd name="connsiteY1" fmla="*/ 460233 h 920392"/>
                <a:gd name="connsiteX2" fmla="*/ 1666339 w 1666338"/>
                <a:gd name="connsiteY2" fmla="*/ 460159 h 920392"/>
                <a:gd name="connsiteX3" fmla="*/ 1206105 w 1666338"/>
                <a:gd name="connsiteY3" fmla="*/ 920392 h 920392"/>
                <a:gd name="connsiteX4" fmla="*/ 460233 w 1666338"/>
                <a:gd name="connsiteY4" fmla="*/ 920392 h 920392"/>
                <a:gd name="connsiteX5" fmla="*/ 0 w 1666338"/>
                <a:gd name="connsiteY5" fmla="*/ 460159 h 920392"/>
                <a:gd name="connsiteX6" fmla="*/ 0 w 1666338"/>
                <a:gd name="connsiteY6" fmla="*/ 460233 h 920392"/>
                <a:gd name="connsiteX7" fmla="*/ 460233 w 166633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338" h="920392">
                  <a:moveTo>
                    <a:pt x="1206105" y="0"/>
                  </a:moveTo>
                  <a:cubicBezTo>
                    <a:pt x="1460285" y="0"/>
                    <a:pt x="1666339" y="206053"/>
                    <a:pt x="1666339" y="460233"/>
                  </a:cubicBezTo>
                  <a:lnTo>
                    <a:pt x="1666339" y="460159"/>
                  </a:lnTo>
                  <a:cubicBezTo>
                    <a:pt x="1666339" y="714339"/>
                    <a:pt x="1460285" y="920392"/>
                    <a:pt x="1206105" y="920392"/>
                  </a:cubicBezTo>
                  <a:lnTo>
                    <a:pt x="460233" y="920392"/>
                  </a:lnTo>
                  <a:cubicBezTo>
                    <a:pt x="206053" y="920392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3"/>
                    <a:pt x="206053" y="0"/>
                    <a:pt x="460233" y="0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4C4114B-28B5-5F88-4DC0-2E450A0C1E15}"/>
                </a:ext>
              </a:extLst>
            </p:cNvPr>
            <p:cNvSpPr/>
            <p:nvPr/>
          </p:nvSpPr>
          <p:spPr>
            <a:xfrm>
              <a:off x="-1246770" y="711200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2AEE555-A49B-9B6E-955F-DA38BEC6E48D}"/>
                </a:ext>
              </a:extLst>
            </p:cNvPr>
            <p:cNvSpPr/>
            <p:nvPr/>
          </p:nvSpPr>
          <p:spPr>
            <a:xfrm>
              <a:off x="1228546" y="711200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97164CF-FD44-445F-654A-F40CBDDCA5F8}"/>
                </a:ext>
              </a:extLst>
            </p:cNvPr>
            <p:cNvSpPr/>
            <p:nvPr/>
          </p:nvSpPr>
          <p:spPr>
            <a:xfrm>
              <a:off x="-413526" y="1632332"/>
              <a:ext cx="1666338" cy="920392"/>
            </a:xfrm>
            <a:custGeom>
              <a:avLst/>
              <a:gdLst>
                <a:gd name="connsiteX0" fmla="*/ 1206106 w 1666338"/>
                <a:gd name="connsiteY0" fmla="*/ 0 h 920392"/>
                <a:gd name="connsiteX1" fmla="*/ 1666339 w 1666338"/>
                <a:gd name="connsiteY1" fmla="*/ 460233 h 920392"/>
                <a:gd name="connsiteX2" fmla="*/ 1666339 w 1666338"/>
                <a:gd name="connsiteY2" fmla="*/ 460159 h 920392"/>
                <a:gd name="connsiteX3" fmla="*/ 1206106 w 1666338"/>
                <a:gd name="connsiteY3" fmla="*/ 920393 h 920392"/>
                <a:gd name="connsiteX4" fmla="*/ 460233 w 1666338"/>
                <a:gd name="connsiteY4" fmla="*/ 920393 h 920392"/>
                <a:gd name="connsiteX5" fmla="*/ 0 w 1666338"/>
                <a:gd name="connsiteY5" fmla="*/ 460159 h 920392"/>
                <a:gd name="connsiteX6" fmla="*/ 0 w 1666338"/>
                <a:gd name="connsiteY6" fmla="*/ 460233 h 920392"/>
                <a:gd name="connsiteX7" fmla="*/ 460233 w 166633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338" h="920392">
                  <a:moveTo>
                    <a:pt x="1206106" y="0"/>
                  </a:moveTo>
                  <a:cubicBezTo>
                    <a:pt x="1460285" y="0"/>
                    <a:pt x="1666339" y="206053"/>
                    <a:pt x="1666339" y="460233"/>
                  </a:cubicBezTo>
                  <a:lnTo>
                    <a:pt x="1666339" y="460159"/>
                  </a:lnTo>
                  <a:cubicBezTo>
                    <a:pt x="1666339" y="714339"/>
                    <a:pt x="1460286" y="920393"/>
                    <a:pt x="1206106" y="920393"/>
                  </a:cubicBezTo>
                  <a:lnTo>
                    <a:pt x="460233" y="920393"/>
                  </a:lnTo>
                  <a:cubicBezTo>
                    <a:pt x="206053" y="920393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3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1000">
                  <a:srgbClr val="191A48"/>
                </a:gs>
                <a:gs pos="32000">
                  <a:srgbClr val="2A4360"/>
                </a:gs>
                <a:gs pos="61000">
                  <a:srgbClr val="458588"/>
                </a:gs>
                <a:gs pos="96000">
                  <a:srgbClr val="69DFBD"/>
                </a:gs>
                <a:gs pos="100000">
                  <a:srgbClr val="6EEAC4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8501A8E-B988-B0A4-38C2-E875AACF00F3}"/>
                </a:ext>
              </a:extLst>
            </p:cNvPr>
            <p:cNvSpPr/>
            <p:nvPr/>
          </p:nvSpPr>
          <p:spPr>
            <a:xfrm>
              <a:off x="308153" y="1632258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7"/>
                    <a:pt x="460233" y="920467"/>
                  </a:cubicBezTo>
                  <a:cubicBezTo>
                    <a:pt x="206054" y="920467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7" y="206053"/>
                    <a:pt x="920467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634FCA-D671-8E4E-FB65-176D5753BD81}"/>
                </a:ext>
              </a:extLst>
            </p:cNvPr>
            <p:cNvSpPr/>
            <p:nvPr/>
          </p:nvSpPr>
          <p:spPr>
            <a:xfrm>
              <a:off x="611252" y="2552724"/>
              <a:ext cx="2315296" cy="920392"/>
            </a:xfrm>
            <a:custGeom>
              <a:avLst/>
              <a:gdLst>
                <a:gd name="connsiteX0" fmla="*/ 1855063 w 2315296"/>
                <a:gd name="connsiteY0" fmla="*/ 0 h 920392"/>
                <a:gd name="connsiteX1" fmla="*/ 2315297 w 2315296"/>
                <a:gd name="connsiteY1" fmla="*/ 460233 h 920392"/>
                <a:gd name="connsiteX2" fmla="*/ 2315297 w 2315296"/>
                <a:gd name="connsiteY2" fmla="*/ 460159 h 920392"/>
                <a:gd name="connsiteX3" fmla="*/ 1855063 w 2315296"/>
                <a:gd name="connsiteY3" fmla="*/ 920392 h 920392"/>
                <a:gd name="connsiteX4" fmla="*/ 460233 w 2315296"/>
                <a:gd name="connsiteY4" fmla="*/ 920392 h 920392"/>
                <a:gd name="connsiteX5" fmla="*/ 0 w 2315296"/>
                <a:gd name="connsiteY5" fmla="*/ 460159 h 920392"/>
                <a:gd name="connsiteX6" fmla="*/ 0 w 2315296"/>
                <a:gd name="connsiteY6" fmla="*/ 460233 h 920392"/>
                <a:gd name="connsiteX7" fmla="*/ 460233 w 2315296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5296" h="920392">
                  <a:moveTo>
                    <a:pt x="1855063" y="0"/>
                  </a:moveTo>
                  <a:cubicBezTo>
                    <a:pt x="2109243" y="0"/>
                    <a:pt x="2315297" y="206053"/>
                    <a:pt x="2315297" y="460233"/>
                  </a:cubicBezTo>
                  <a:lnTo>
                    <a:pt x="2315297" y="460159"/>
                  </a:lnTo>
                  <a:cubicBezTo>
                    <a:pt x="2315297" y="714339"/>
                    <a:pt x="2109243" y="920392"/>
                    <a:pt x="1855063" y="920392"/>
                  </a:cubicBezTo>
                  <a:lnTo>
                    <a:pt x="460233" y="920392"/>
                  </a:lnTo>
                  <a:cubicBezTo>
                    <a:pt x="206054" y="920392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3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1000">
                  <a:srgbClr val="191A48"/>
                </a:gs>
                <a:gs pos="32000">
                  <a:srgbClr val="2A4360"/>
                </a:gs>
                <a:gs pos="61000">
                  <a:srgbClr val="458588"/>
                </a:gs>
                <a:gs pos="96000">
                  <a:srgbClr val="69DFBD"/>
                </a:gs>
                <a:gs pos="100000">
                  <a:srgbClr val="6EEAC4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924FC20-7D0D-869C-E9B7-7B299C8191A2}"/>
                </a:ext>
              </a:extLst>
            </p:cNvPr>
            <p:cNvSpPr/>
            <p:nvPr/>
          </p:nvSpPr>
          <p:spPr>
            <a:xfrm>
              <a:off x="1228546" y="3473117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97B7C2-D247-4CB8-F5BE-35AB2F63072A}"/>
                </a:ext>
              </a:extLst>
            </p:cNvPr>
            <p:cNvSpPr/>
            <p:nvPr/>
          </p:nvSpPr>
          <p:spPr>
            <a:xfrm>
              <a:off x="1228620" y="4398096"/>
              <a:ext cx="1697928" cy="920392"/>
            </a:xfrm>
            <a:custGeom>
              <a:avLst/>
              <a:gdLst>
                <a:gd name="connsiteX0" fmla="*/ 1250642 w 1697928"/>
                <a:gd name="connsiteY0" fmla="*/ 0 h 920392"/>
                <a:gd name="connsiteX1" fmla="*/ 1697929 w 1697928"/>
                <a:gd name="connsiteY1" fmla="*/ 447287 h 920392"/>
                <a:gd name="connsiteX2" fmla="*/ 1697929 w 1697928"/>
                <a:gd name="connsiteY2" fmla="*/ 473106 h 920392"/>
                <a:gd name="connsiteX3" fmla="*/ 1250642 w 1697928"/>
                <a:gd name="connsiteY3" fmla="*/ 920393 h 920392"/>
                <a:gd name="connsiteX4" fmla="*/ 447286 w 1697928"/>
                <a:gd name="connsiteY4" fmla="*/ 920393 h 920392"/>
                <a:gd name="connsiteX5" fmla="*/ 0 w 1697928"/>
                <a:gd name="connsiteY5" fmla="*/ 473106 h 920392"/>
                <a:gd name="connsiteX6" fmla="*/ 0 w 1697928"/>
                <a:gd name="connsiteY6" fmla="*/ 447287 h 920392"/>
                <a:gd name="connsiteX7" fmla="*/ 447286 w 169792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7928" h="920392">
                  <a:moveTo>
                    <a:pt x="1250642" y="0"/>
                  </a:moveTo>
                  <a:cubicBezTo>
                    <a:pt x="1497671" y="0"/>
                    <a:pt x="1697929" y="200257"/>
                    <a:pt x="1697929" y="447287"/>
                  </a:cubicBezTo>
                  <a:lnTo>
                    <a:pt x="1697929" y="473106"/>
                  </a:lnTo>
                  <a:cubicBezTo>
                    <a:pt x="1697929" y="720135"/>
                    <a:pt x="1497672" y="920393"/>
                    <a:pt x="1250642" y="920393"/>
                  </a:cubicBezTo>
                  <a:lnTo>
                    <a:pt x="447286" y="920393"/>
                  </a:lnTo>
                  <a:cubicBezTo>
                    <a:pt x="200257" y="920393"/>
                    <a:pt x="0" y="720136"/>
                    <a:pt x="0" y="473106"/>
                  </a:cubicBezTo>
                  <a:lnTo>
                    <a:pt x="0" y="447287"/>
                  </a:lnTo>
                  <a:cubicBezTo>
                    <a:pt x="0" y="200257"/>
                    <a:pt x="200257" y="0"/>
                    <a:pt x="447286" y="0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A346994-B426-203A-07D5-80547C708E56}"/>
                </a:ext>
              </a:extLst>
            </p:cNvPr>
            <p:cNvSpPr/>
            <p:nvPr/>
          </p:nvSpPr>
          <p:spPr>
            <a:xfrm>
              <a:off x="698919" y="5323001"/>
              <a:ext cx="1687275" cy="920392"/>
            </a:xfrm>
            <a:custGeom>
              <a:avLst/>
              <a:gdLst>
                <a:gd name="connsiteX0" fmla="*/ 1227042 w 1687275"/>
                <a:gd name="connsiteY0" fmla="*/ 0 h 920392"/>
                <a:gd name="connsiteX1" fmla="*/ 1687276 w 1687275"/>
                <a:gd name="connsiteY1" fmla="*/ 460233 h 920392"/>
                <a:gd name="connsiteX2" fmla="*/ 1687276 w 1687275"/>
                <a:gd name="connsiteY2" fmla="*/ 460159 h 920392"/>
                <a:gd name="connsiteX3" fmla="*/ 1227042 w 1687275"/>
                <a:gd name="connsiteY3" fmla="*/ 920393 h 920392"/>
                <a:gd name="connsiteX4" fmla="*/ 460233 w 1687275"/>
                <a:gd name="connsiteY4" fmla="*/ 920393 h 920392"/>
                <a:gd name="connsiteX5" fmla="*/ 0 w 1687275"/>
                <a:gd name="connsiteY5" fmla="*/ 460159 h 920392"/>
                <a:gd name="connsiteX6" fmla="*/ 0 w 1687275"/>
                <a:gd name="connsiteY6" fmla="*/ 460233 h 920392"/>
                <a:gd name="connsiteX7" fmla="*/ 460233 w 1687275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7275" h="920392">
                  <a:moveTo>
                    <a:pt x="1227042" y="0"/>
                  </a:moveTo>
                  <a:cubicBezTo>
                    <a:pt x="1481222" y="0"/>
                    <a:pt x="1687276" y="206053"/>
                    <a:pt x="1687276" y="460233"/>
                  </a:cubicBezTo>
                  <a:lnTo>
                    <a:pt x="1687276" y="460159"/>
                  </a:lnTo>
                  <a:cubicBezTo>
                    <a:pt x="1687276" y="714339"/>
                    <a:pt x="1481222" y="920393"/>
                    <a:pt x="1227042" y="920393"/>
                  </a:cubicBezTo>
                  <a:lnTo>
                    <a:pt x="460233" y="920393"/>
                  </a:lnTo>
                  <a:cubicBezTo>
                    <a:pt x="206054" y="920393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4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1000">
                  <a:srgbClr val="191A48"/>
                </a:gs>
                <a:gs pos="32000">
                  <a:srgbClr val="2A4360"/>
                </a:gs>
                <a:gs pos="61000">
                  <a:srgbClr val="458588"/>
                </a:gs>
                <a:gs pos="96000">
                  <a:srgbClr val="69DFBD"/>
                </a:gs>
                <a:gs pos="100000">
                  <a:srgbClr val="6EEAC4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15C3DCF-B310-DBED-FE6D-0455460C74D5}"/>
                </a:ext>
              </a:extLst>
            </p:cNvPr>
            <p:cNvSpPr/>
            <p:nvPr/>
          </p:nvSpPr>
          <p:spPr>
            <a:xfrm>
              <a:off x="1228546" y="6477320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7"/>
                    <a:pt x="460233" y="920467"/>
                  </a:cubicBezTo>
                  <a:cubicBezTo>
                    <a:pt x="206053" y="920467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EFF6048-5617-D6BF-9EBC-40116B532B38}"/>
                </a:ext>
              </a:extLst>
            </p:cNvPr>
            <p:cNvSpPr/>
            <p:nvPr/>
          </p:nvSpPr>
          <p:spPr>
            <a:xfrm>
              <a:off x="308153" y="6477320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7"/>
                    <a:pt x="460233" y="920467"/>
                  </a:cubicBezTo>
                  <a:cubicBezTo>
                    <a:pt x="206054" y="920467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7" y="206053"/>
                    <a:pt x="920467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0AC4BC1-7BB5-461D-4186-57D7CB424A62}"/>
                </a:ext>
              </a:extLst>
            </p:cNvPr>
            <p:cNvSpPr/>
            <p:nvPr/>
          </p:nvSpPr>
          <p:spPr>
            <a:xfrm rot="5400000">
              <a:off x="-783170" y="3639906"/>
              <a:ext cx="1666338" cy="920392"/>
            </a:xfrm>
            <a:custGeom>
              <a:avLst/>
              <a:gdLst>
                <a:gd name="connsiteX0" fmla="*/ 1206105 w 1666338"/>
                <a:gd name="connsiteY0" fmla="*/ 0 h 920392"/>
                <a:gd name="connsiteX1" fmla="*/ 1666339 w 1666338"/>
                <a:gd name="connsiteY1" fmla="*/ 460233 h 920392"/>
                <a:gd name="connsiteX2" fmla="*/ 1666339 w 1666338"/>
                <a:gd name="connsiteY2" fmla="*/ 460159 h 920392"/>
                <a:gd name="connsiteX3" fmla="*/ 1206105 w 1666338"/>
                <a:gd name="connsiteY3" fmla="*/ 920392 h 920392"/>
                <a:gd name="connsiteX4" fmla="*/ 460233 w 1666338"/>
                <a:gd name="connsiteY4" fmla="*/ 920392 h 920392"/>
                <a:gd name="connsiteX5" fmla="*/ 0 w 1666338"/>
                <a:gd name="connsiteY5" fmla="*/ 460159 h 920392"/>
                <a:gd name="connsiteX6" fmla="*/ 0 w 1666338"/>
                <a:gd name="connsiteY6" fmla="*/ 460233 h 920392"/>
                <a:gd name="connsiteX7" fmla="*/ 460233 w 166633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338" h="920392">
                  <a:moveTo>
                    <a:pt x="1206105" y="0"/>
                  </a:moveTo>
                  <a:cubicBezTo>
                    <a:pt x="1460285" y="0"/>
                    <a:pt x="1666339" y="206053"/>
                    <a:pt x="1666339" y="460233"/>
                  </a:cubicBezTo>
                  <a:lnTo>
                    <a:pt x="1666339" y="460159"/>
                  </a:lnTo>
                  <a:cubicBezTo>
                    <a:pt x="1666339" y="714339"/>
                    <a:pt x="1460286" y="920392"/>
                    <a:pt x="1206105" y="920392"/>
                  </a:cubicBezTo>
                  <a:lnTo>
                    <a:pt x="460233" y="920392"/>
                  </a:lnTo>
                  <a:cubicBezTo>
                    <a:pt x="206053" y="920392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3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2000">
                  <a:srgbClr val="151044"/>
                </a:gs>
                <a:gs pos="27000">
                  <a:srgbClr val="1A1F53"/>
                </a:gs>
                <a:gs pos="43000">
                  <a:srgbClr val="24386C"/>
                </a:gs>
                <a:gs pos="60000">
                  <a:srgbClr val="325B8E"/>
                </a:gs>
                <a:gs pos="79000">
                  <a:srgbClr val="4389BB"/>
                </a:gs>
                <a:gs pos="97000">
                  <a:srgbClr val="58BFF0"/>
                </a:gs>
                <a:gs pos="100000">
                  <a:srgbClr val="5CC8F9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26CC3A3-6381-6772-A88F-6A1C877E2CD2}"/>
                </a:ext>
              </a:extLst>
            </p:cNvPr>
            <p:cNvSpPr/>
            <p:nvPr/>
          </p:nvSpPr>
          <p:spPr>
            <a:xfrm>
              <a:off x="-413526" y="4012879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4 w 920466"/>
                <a:gd name="connsiteY1" fmla="*/ 920467 h 920466"/>
                <a:gd name="connsiteX2" fmla="*/ 0 w 920466"/>
                <a:gd name="connsiteY2" fmla="*/ 460233 h 920466"/>
                <a:gd name="connsiteX3" fmla="*/ 460234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7"/>
                    <a:pt x="460234" y="920467"/>
                  </a:cubicBezTo>
                  <a:cubicBezTo>
                    <a:pt x="206054" y="920467"/>
                    <a:pt x="0" y="714413"/>
                    <a:pt x="0" y="460233"/>
                  </a:cubicBezTo>
                  <a:cubicBezTo>
                    <a:pt x="0" y="206054"/>
                    <a:pt x="206054" y="0"/>
                    <a:pt x="460234" y="0"/>
                  </a:cubicBezTo>
                  <a:cubicBezTo>
                    <a:pt x="714413" y="0"/>
                    <a:pt x="920467" y="206054"/>
                    <a:pt x="920467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87F3FD4-7F0C-7B88-D5D7-A9B1D4E7EDCD}"/>
                </a:ext>
              </a:extLst>
            </p:cNvPr>
            <p:cNvSpPr/>
            <p:nvPr/>
          </p:nvSpPr>
          <p:spPr>
            <a:xfrm>
              <a:off x="-410197" y="4957611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7"/>
                    <a:pt x="460233" y="920467"/>
                  </a:cubicBezTo>
                  <a:cubicBezTo>
                    <a:pt x="206053" y="920467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719D077-291C-F22B-E91D-1D74A19CCC20}"/>
                </a:ext>
              </a:extLst>
            </p:cNvPr>
            <p:cNvSpPr/>
            <p:nvPr/>
          </p:nvSpPr>
          <p:spPr>
            <a:xfrm>
              <a:off x="-1330590" y="4957611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7"/>
                    <a:pt x="460233" y="920467"/>
                  </a:cubicBezTo>
                  <a:cubicBezTo>
                    <a:pt x="206054" y="920467"/>
                    <a:pt x="0" y="714413"/>
                    <a:pt x="0" y="460233"/>
                  </a:cubicBezTo>
                  <a:cubicBezTo>
                    <a:pt x="0" y="206054"/>
                    <a:pt x="206054" y="0"/>
                    <a:pt x="460233" y="0"/>
                  </a:cubicBezTo>
                  <a:cubicBezTo>
                    <a:pt x="714413" y="0"/>
                    <a:pt x="920467" y="206053"/>
                    <a:pt x="920467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26E80CF-7709-6FA0-986E-0B101C62C03D}"/>
                </a:ext>
              </a:extLst>
            </p:cNvPr>
            <p:cNvSpPr/>
            <p:nvPr/>
          </p:nvSpPr>
          <p:spPr>
            <a:xfrm rot="5400000">
              <a:off x="-1701861" y="6275316"/>
              <a:ext cx="1666338" cy="920392"/>
            </a:xfrm>
            <a:custGeom>
              <a:avLst/>
              <a:gdLst>
                <a:gd name="connsiteX0" fmla="*/ 1206105 w 1666338"/>
                <a:gd name="connsiteY0" fmla="*/ 0 h 920392"/>
                <a:gd name="connsiteX1" fmla="*/ 1666339 w 1666338"/>
                <a:gd name="connsiteY1" fmla="*/ 460233 h 920392"/>
                <a:gd name="connsiteX2" fmla="*/ 1666339 w 1666338"/>
                <a:gd name="connsiteY2" fmla="*/ 460159 h 920392"/>
                <a:gd name="connsiteX3" fmla="*/ 1206105 w 1666338"/>
                <a:gd name="connsiteY3" fmla="*/ 920393 h 920392"/>
                <a:gd name="connsiteX4" fmla="*/ 460233 w 1666338"/>
                <a:gd name="connsiteY4" fmla="*/ 920393 h 920392"/>
                <a:gd name="connsiteX5" fmla="*/ 0 w 1666338"/>
                <a:gd name="connsiteY5" fmla="*/ 460159 h 920392"/>
                <a:gd name="connsiteX6" fmla="*/ 0 w 1666338"/>
                <a:gd name="connsiteY6" fmla="*/ 460233 h 920392"/>
                <a:gd name="connsiteX7" fmla="*/ 460233 w 166633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338" h="920392">
                  <a:moveTo>
                    <a:pt x="1206105" y="0"/>
                  </a:moveTo>
                  <a:cubicBezTo>
                    <a:pt x="1460285" y="0"/>
                    <a:pt x="1666339" y="206053"/>
                    <a:pt x="1666339" y="460233"/>
                  </a:cubicBezTo>
                  <a:lnTo>
                    <a:pt x="1666339" y="460159"/>
                  </a:lnTo>
                  <a:cubicBezTo>
                    <a:pt x="1666339" y="714339"/>
                    <a:pt x="1460285" y="920393"/>
                    <a:pt x="1206105" y="920393"/>
                  </a:cubicBezTo>
                  <a:lnTo>
                    <a:pt x="460233" y="920393"/>
                  </a:lnTo>
                  <a:cubicBezTo>
                    <a:pt x="206053" y="920393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4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2000">
                  <a:srgbClr val="151044"/>
                </a:gs>
                <a:gs pos="27000">
                  <a:srgbClr val="1A1F53"/>
                </a:gs>
                <a:gs pos="43000">
                  <a:srgbClr val="24386C"/>
                </a:gs>
                <a:gs pos="60000">
                  <a:srgbClr val="325B8E"/>
                </a:gs>
                <a:gs pos="79000">
                  <a:srgbClr val="4389BB"/>
                </a:gs>
                <a:gs pos="97000">
                  <a:srgbClr val="58BFF0"/>
                </a:gs>
                <a:gs pos="100000">
                  <a:srgbClr val="5CC8F9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1CA37FA-E05D-BBA4-0924-E5B6CE13357E}"/>
                </a:ext>
              </a:extLst>
            </p:cNvPr>
            <p:cNvSpPr/>
            <p:nvPr/>
          </p:nvSpPr>
          <p:spPr>
            <a:xfrm>
              <a:off x="-1332291" y="6648289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8C4B006-C207-FFD1-7D5E-2BCAFC191975}"/>
                </a:ext>
              </a:extLst>
            </p:cNvPr>
            <p:cNvSpPr/>
            <p:nvPr/>
          </p:nvSpPr>
          <p:spPr>
            <a:xfrm rot="16200000">
              <a:off x="-2625657" y="6275316"/>
              <a:ext cx="1666338" cy="920392"/>
            </a:xfrm>
            <a:custGeom>
              <a:avLst/>
              <a:gdLst>
                <a:gd name="connsiteX0" fmla="*/ 1206106 w 1666338"/>
                <a:gd name="connsiteY0" fmla="*/ 0 h 920392"/>
                <a:gd name="connsiteX1" fmla="*/ 1666339 w 1666338"/>
                <a:gd name="connsiteY1" fmla="*/ 460233 h 920392"/>
                <a:gd name="connsiteX2" fmla="*/ 1666339 w 1666338"/>
                <a:gd name="connsiteY2" fmla="*/ 460159 h 920392"/>
                <a:gd name="connsiteX3" fmla="*/ 1206106 w 1666338"/>
                <a:gd name="connsiteY3" fmla="*/ 920393 h 920392"/>
                <a:gd name="connsiteX4" fmla="*/ 460233 w 1666338"/>
                <a:gd name="connsiteY4" fmla="*/ 920393 h 920392"/>
                <a:gd name="connsiteX5" fmla="*/ 0 w 1666338"/>
                <a:gd name="connsiteY5" fmla="*/ 460159 h 920392"/>
                <a:gd name="connsiteX6" fmla="*/ 0 w 1666338"/>
                <a:gd name="connsiteY6" fmla="*/ 460233 h 920392"/>
                <a:gd name="connsiteX7" fmla="*/ 460233 w 166633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338" h="920392">
                  <a:moveTo>
                    <a:pt x="1206106" y="0"/>
                  </a:moveTo>
                  <a:cubicBezTo>
                    <a:pt x="1460285" y="0"/>
                    <a:pt x="1666339" y="206053"/>
                    <a:pt x="1666339" y="460233"/>
                  </a:cubicBezTo>
                  <a:lnTo>
                    <a:pt x="1666339" y="460159"/>
                  </a:lnTo>
                  <a:cubicBezTo>
                    <a:pt x="1666339" y="714339"/>
                    <a:pt x="1460285" y="920393"/>
                    <a:pt x="1206106" y="920393"/>
                  </a:cubicBezTo>
                  <a:lnTo>
                    <a:pt x="460233" y="920393"/>
                  </a:lnTo>
                  <a:cubicBezTo>
                    <a:pt x="206053" y="920393"/>
                    <a:pt x="0" y="714339"/>
                    <a:pt x="0" y="460159"/>
                  </a:cubicBezTo>
                  <a:lnTo>
                    <a:pt x="0" y="460233"/>
                  </a:lnTo>
                  <a:cubicBezTo>
                    <a:pt x="0" y="206054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1000">
                  <a:srgbClr val="191A48"/>
                </a:gs>
                <a:gs pos="32000">
                  <a:srgbClr val="2A4360"/>
                </a:gs>
                <a:gs pos="61000">
                  <a:srgbClr val="458588"/>
                </a:gs>
                <a:gs pos="96000">
                  <a:srgbClr val="69DFBD"/>
                </a:gs>
                <a:gs pos="100000">
                  <a:srgbClr val="6EEAC4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4342DBC-543F-A8A9-8804-2A87D9DA9EFA}"/>
                </a:ext>
              </a:extLst>
            </p:cNvPr>
            <p:cNvSpPr/>
            <p:nvPr/>
          </p:nvSpPr>
          <p:spPr>
            <a:xfrm>
              <a:off x="-2249355" y="5902343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7"/>
                    <a:pt x="460233" y="920467"/>
                  </a:cubicBezTo>
                  <a:cubicBezTo>
                    <a:pt x="206053" y="920467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7" y="206053"/>
                    <a:pt x="920467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F9A21E2-93C4-EF96-F88C-C69F3E89C47D}"/>
                </a:ext>
              </a:extLst>
            </p:cNvPr>
            <p:cNvSpPr/>
            <p:nvPr/>
          </p:nvSpPr>
          <p:spPr>
            <a:xfrm>
              <a:off x="-2055673" y="3191029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C5232E-9DFD-3B3E-A3CF-ADE7F35CE79C}"/>
                </a:ext>
              </a:extLst>
            </p:cNvPr>
            <p:cNvSpPr/>
            <p:nvPr/>
          </p:nvSpPr>
          <p:spPr>
            <a:xfrm>
              <a:off x="-2972737" y="3191029"/>
              <a:ext cx="920466" cy="920466"/>
            </a:xfrm>
            <a:custGeom>
              <a:avLst/>
              <a:gdLst>
                <a:gd name="connsiteX0" fmla="*/ 920467 w 920466"/>
                <a:gd name="connsiteY0" fmla="*/ 460233 h 920466"/>
                <a:gd name="connsiteX1" fmla="*/ 460233 w 920466"/>
                <a:gd name="connsiteY1" fmla="*/ 920466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7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7" y="460233"/>
                  </a:moveTo>
                  <a:cubicBezTo>
                    <a:pt x="920467" y="714413"/>
                    <a:pt x="714413" y="920466"/>
                    <a:pt x="460233" y="920466"/>
                  </a:cubicBezTo>
                  <a:cubicBezTo>
                    <a:pt x="206053" y="920466"/>
                    <a:pt x="0" y="714413"/>
                    <a:pt x="0" y="460233"/>
                  </a:cubicBezTo>
                  <a:cubicBezTo>
                    <a:pt x="0" y="206053"/>
                    <a:pt x="206053" y="0"/>
                    <a:pt x="460233" y="0"/>
                  </a:cubicBezTo>
                  <a:cubicBezTo>
                    <a:pt x="714413" y="0"/>
                    <a:pt x="920467" y="206053"/>
                    <a:pt x="920467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1A87EC-7FA0-AB16-D7AB-58663762D703}"/>
                </a:ext>
              </a:extLst>
            </p:cNvPr>
            <p:cNvSpPr/>
            <p:nvPr/>
          </p:nvSpPr>
          <p:spPr>
            <a:xfrm rot="5400000">
              <a:off x="-4006282" y="4584638"/>
              <a:ext cx="1666338" cy="920392"/>
            </a:xfrm>
            <a:custGeom>
              <a:avLst/>
              <a:gdLst>
                <a:gd name="connsiteX0" fmla="*/ 1206106 w 1666338"/>
                <a:gd name="connsiteY0" fmla="*/ 0 h 920392"/>
                <a:gd name="connsiteX1" fmla="*/ 1666339 w 1666338"/>
                <a:gd name="connsiteY1" fmla="*/ 460234 h 920392"/>
                <a:gd name="connsiteX2" fmla="*/ 1666339 w 1666338"/>
                <a:gd name="connsiteY2" fmla="*/ 460159 h 920392"/>
                <a:gd name="connsiteX3" fmla="*/ 1206106 w 1666338"/>
                <a:gd name="connsiteY3" fmla="*/ 920393 h 920392"/>
                <a:gd name="connsiteX4" fmla="*/ 460233 w 1666338"/>
                <a:gd name="connsiteY4" fmla="*/ 920393 h 920392"/>
                <a:gd name="connsiteX5" fmla="*/ 0 w 1666338"/>
                <a:gd name="connsiteY5" fmla="*/ 460159 h 920392"/>
                <a:gd name="connsiteX6" fmla="*/ 0 w 1666338"/>
                <a:gd name="connsiteY6" fmla="*/ 460234 h 920392"/>
                <a:gd name="connsiteX7" fmla="*/ 460233 w 1666338"/>
                <a:gd name="connsiteY7" fmla="*/ 0 h 9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338" h="920392">
                  <a:moveTo>
                    <a:pt x="1206106" y="0"/>
                  </a:moveTo>
                  <a:cubicBezTo>
                    <a:pt x="1460285" y="0"/>
                    <a:pt x="1666339" y="206053"/>
                    <a:pt x="1666339" y="460234"/>
                  </a:cubicBezTo>
                  <a:lnTo>
                    <a:pt x="1666339" y="460159"/>
                  </a:lnTo>
                  <a:cubicBezTo>
                    <a:pt x="1666339" y="714339"/>
                    <a:pt x="1460285" y="920393"/>
                    <a:pt x="1206106" y="920393"/>
                  </a:cubicBezTo>
                  <a:lnTo>
                    <a:pt x="460233" y="920393"/>
                  </a:lnTo>
                  <a:cubicBezTo>
                    <a:pt x="206053" y="920393"/>
                    <a:pt x="0" y="714339"/>
                    <a:pt x="0" y="460159"/>
                  </a:cubicBezTo>
                  <a:lnTo>
                    <a:pt x="0" y="460234"/>
                  </a:lnTo>
                  <a:cubicBezTo>
                    <a:pt x="0" y="206054"/>
                    <a:pt x="206053" y="0"/>
                    <a:pt x="460233" y="0"/>
                  </a:cubicBezTo>
                  <a:close/>
                </a:path>
              </a:pathLst>
            </a:custGeom>
            <a:gradFill>
              <a:gsLst>
                <a:gs pos="0">
                  <a:srgbClr val="130B3F"/>
                </a:gs>
                <a:gs pos="12000">
                  <a:srgbClr val="151044"/>
                </a:gs>
                <a:gs pos="27000">
                  <a:srgbClr val="1A1F53"/>
                </a:gs>
                <a:gs pos="43000">
                  <a:srgbClr val="24386C"/>
                </a:gs>
                <a:gs pos="60000">
                  <a:srgbClr val="325B8E"/>
                </a:gs>
                <a:gs pos="79000">
                  <a:srgbClr val="4389BB"/>
                </a:gs>
                <a:gs pos="97000">
                  <a:srgbClr val="58BFF0"/>
                </a:gs>
                <a:gs pos="100000">
                  <a:srgbClr val="5CC8F9"/>
                </a:gs>
              </a:gsLst>
              <a:lin ang="0" scaled="1"/>
            </a:gra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C601C84-B052-D8A7-105C-A9C65E32CC8C}"/>
                </a:ext>
              </a:extLst>
            </p:cNvPr>
            <p:cNvSpPr/>
            <p:nvPr/>
          </p:nvSpPr>
          <p:spPr>
            <a:xfrm>
              <a:off x="-3636639" y="4957611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7"/>
                    <a:pt x="460233" y="920467"/>
                  </a:cubicBezTo>
                  <a:cubicBezTo>
                    <a:pt x="206053" y="920467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5CC8F9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C6E5C72-8486-1E66-04A7-D91B736D0636}"/>
                </a:ext>
              </a:extLst>
            </p:cNvPr>
            <p:cNvSpPr/>
            <p:nvPr/>
          </p:nvSpPr>
          <p:spPr>
            <a:xfrm>
              <a:off x="-2712917" y="4957611"/>
              <a:ext cx="920466" cy="920466"/>
            </a:xfrm>
            <a:custGeom>
              <a:avLst/>
              <a:gdLst>
                <a:gd name="connsiteX0" fmla="*/ 920466 w 920466"/>
                <a:gd name="connsiteY0" fmla="*/ 460233 h 920466"/>
                <a:gd name="connsiteX1" fmla="*/ 460233 w 920466"/>
                <a:gd name="connsiteY1" fmla="*/ 920467 h 920466"/>
                <a:gd name="connsiteX2" fmla="*/ 0 w 920466"/>
                <a:gd name="connsiteY2" fmla="*/ 460233 h 920466"/>
                <a:gd name="connsiteX3" fmla="*/ 460233 w 920466"/>
                <a:gd name="connsiteY3" fmla="*/ 0 h 920466"/>
                <a:gd name="connsiteX4" fmla="*/ 920466 w 920466"/>
                <a:gd name="connsiteY4" fmla="*/ 460233 h 9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466" h="920466">
                  <a:moveTo>
                    <a:pt x="920466" y="460233"/>
                  </a:moveTo>
                  <a:cubicBezTo>
                    <a:pt x="920466" y="714413"/>
                    <a:pt x="714413" y="920467"/>
                    <a:pt x="460233" y="920467"/>
                  </a:cubicBezTo>
                  <a:cubicBezTo>
                    <a:pt x="206053" y="920467"/>
                    <a:pt x="0" y="714413"/>
                    <a:pt x="0" y="460233"/>
                  </a:cubicBezTo>
                  <a:cubicBezTo>
                    <a:pt x="0" y="206054"/>
                    <a:pt x="206053" y="0"/>
                    <a:pt x="460233" y="0"/>
                  </a:cubicBezTo>
                  <a:cubicBezTo>
                    <a:pt x="714413" y="0"/>
                    <a:pt x="920466" y="206053"/>
                    <a:pt x="920466" y="460233"/>
                  </a:cubicBezTo>
                  <a:close/>
                </a:path>
              </a:pathLst>
            </a:custGeom>
            <a:solidFill>
              <a:srgbClr val="6EEAC4"/>
            </a:solidFill>
            <a:ln w="73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</p:grpSp>
      <p:sp>
        <p:nvSpPr>
          <p:cNvPr id="34" name="Title 1">
            <a:extLst>
              <a:ext uri="{FF2B5EF4-FFF2-40B4-BE49-F238E27FC236}">
                <a16:creationId xmlns:a16="http://schemas.microsoft.com/office/drawing/2014/main" id="{88E0F4A3-D638-A7B8-4A93-B69D33864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0269" y="3381727"/>
            <a:ext cx="5419102" cy="2079273"/>
          </a:xfrm>
          <a:prstGeom prst="rect">
            <a:avLst/>
          </a:prstGeom>
        </p:spPr>
        <p:txBody>
          <a:bodyPr vert="horz" anchor="t" anchorCtr="0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Divider title are 44pt </a:t>
            </a:r>
            <a:br>
              <a:rPr lang="en-US"/>
            </a:br>
            <a:r>
              <a:rPr lang="en-US"/>
              <a:t>Noto Sans Light sentence cas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07C91505-163B-33AB-6F26-775FAE51290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0269" y="2828904"/>
            <a:ext cx="1841636" cy="32577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200" b="1" cap="all" baseline="0">
                <a:solidFill>
                  <a:srgbClr val="00CC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YEBROW </a:t>
            </a:r>
            <a:r>
              <a:rPr lang="en-US" err="1"/>
              <a:t>HeRE</a:t>
            </a:r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05880F7E-2EF9-500F-8C65-8AE5422B47D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0042" y="611533"/>
            <a:ext cx="2212298" cy="399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2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026-01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A0FB1EB-886A-6250-1720-BF969FB7A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38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0FB1EB-886A-6250-1720-BF969FB7A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phic 23">
            <a:extLst>
              <a:ext uri="{FF2B5EF4-FFF2-40B4-BE49-F238E27FC236}">
                <a16:creationId xmlns:a16="http://schemas.microsoft.com/office/drawing/2014/main" id="{FA43C2D8-91E1-D523-C303-80C76AB672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C5206E26-8F1D-9E77-06A9-3E52BE359D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231744" y="480060"/>
            <a:ext cx="2960256" cy="5891813"/>
          </a:xfrm>
          <a:custGeom>
            <a:avLst/>
            <a:gdLst>
              <a:gd name="connsiteX0" fmla="*/ 2945906 w 2960256"/>
              <a:gd name="connsiteY0" fmla="*/ 0 h 5891813"/>
              <a:gd name="connsiteX1" fmla="*/ 2960256 w 2960256"/>
              <a:gd name="connsiteY1" fmla="*/ 0 h 5891813"/>
              <a:gd name="connsiteX2" fmla="*/ 2960256 w 2960256"/>
              <a:gd name="connsiteY2" fmla="*/ 5891813 h 5891813"/>
              <a:gd name="connsiteX3" fmla="*/ 2945907 w 2960256"/>
              <a:gd name="connsiteY3" fmla="*/ 5891813 h 5891813"/>
              <a:gd name="connsiteX4" fmla="*/ 1 w 2960256"/>
              <a:gd name="connsiteY4" fmla="*/ 2945907 h 5891813"/>
              <a:gd name="connsiteX5" fmla="*/ 0 w 2960256"/>
              <a:gd name="connsiteY5" fmla="*/ 2945907 h 5891813"/>
              <a:gd name="connsiteX6" fmla="*/ 2945906 w 2960256"/>
              <a:gd name="connsiteY6" fmla="*/ 0 h 58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60256" h="5891813">
                <a:moveTo>
                  <a:pt x="2945906" y="0"/>
                </a:moveTo>
                <a:lnTo>
                  <a:pt x="2960256" y="0"/>
                </a:lnTo>
                <a:lnTo>
                  <a:pt x="2960256" y="5891813"/>
                </a:lnTo>
                <a:lnTo>
                  <a:pt x="2945907" y="5891813"/>
                </a:lnTo>
                <a:cubicBezTo>
                  <a:pt x="1318928" y="5891813"/>
                  <a:pt x="1" y="4572886"/>
                  <a:pt x="1" y="2945907"/>
                </a:cubicBezTo>
                <a:lnTo>
                  <a:pt x="0" y="2945907"/>
                </a:lnTo>
                <a:cubicBezTo>
                  <a:pt x="0" y="1318927"/>
                  <a:pt x="1318927" y="0"/>
                  <a:pt x="2945906" y="0"/>
                </a:cubicBez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mage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468" y="2705249"/>
            <a:ext cx="8109732" cy="1441434"/>
          </a:xfrm>
          <a:prstGeom prst="rect">
            <a:avLst/>
          </a:prstGeom>
          <a:noFill/>
        </p:spPr>
        <p:txBody>
          <a:bodyPr vert="horz" anchor="ctr" anchorCtr="0">
            <a:noAutofit/>
          </a:bodyPr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Closing slides are 44pt Noto Sans Light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8AC6ABD-4638-0FE9-9EFB-87A913DE552B}"/>
              </a:ext>
            </a:extLst>
          </p:cNvPr>
          <p:cNvPicPr>
            <a:picLocks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0042" y="5757573"/>
            <a:ext cx="2212298" cy="399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90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026-02 - IQVIA">
    <p:bg>
      <p:bgPr>
        <a:solidFill>
          <a:srgbClr val="2B3A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A0FB1EB-886A-6250-1720-BF969FB7A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58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0FB1EB-886A-6250-1720-BF969FB7A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DFA0D13-DE2C-0B2E-321B-3757559395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468" y="2367171"/>
            <a:ext cx="6471432" cy="2123658"/>
          </a:xfrm>
          <a:prstGeom prst="rect">
            <a:avLst/>
          </a:prstGeom>
          <a:noFill/>
        </p:spPr>
        <p:txBody>
          <a:bodyPr vert="horz" anchor="ctr" anchorCtr="0">
            <a:noAutofit/>
          </a:bodyPr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  <a:latin typeface="Noto Sans Light" panose="020B0502040504020204" pitchFamily="34" charset="0"/>
                <a:ea typeface="Noto Sans Light" panose="020B0502040504020204" pitchFamily="34" charset="0"/>
                <a:cs typeface="Noto Sans Light" panose="020B0502040504020204" pitchFamily="34" charset="0"/>
              </a:defRPr>
            </a:lvl1pPr>
          </a:lstStyle>
          <a:p>
            <a:r>
              <a:rPr lang="en-US"/>
              <a:t>Closing slides are </a:t>
            </a:r>
            <a:br>
              <a:rPr lang="en-US"/>
            </a:br>
            <a:r>
              <a:rPr lang="en-US"/>
              <a:t>44pt Noto Sans Light sentence cas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E7BBED7-1DCF-E62E-3826-549F8362CD9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60095" y="5909973"/>
            <a:ext cx="2212298" cy="399963"/>
          </a:xfrm>
          <a:prstGeom prst="rect">
            <a:avLst/>
          </a:prstGeom>
        </p:spPr>
      </p:pic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0E99BEF8-B37E-D639-B8AE-389ED1C2F410}"/>
              </a:ext>
            </a:extLst>
          </p:cNvPr>
          <p:cNvSpPr/>
          <p:nvPr userDrawn="1"/>
        </p:nvSpPr>
        <p:spPr>
          <a:xfrm rot="16200000" flipH="1">
            <a:off x="9687544" y="2143688"/>
            <a:ext cx="2514566" cy="249434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7E1F127-38D3-D9EB-971C-A039C20BDB56}"/>
              </a:ext>
            </a:extLst>
          </p:cNvPr>
          <p:cNvSpPr/>
          <p:nvPr userDrawn="1"/>
        </p:nvSpPr>
        <p:spPr>
          <a:xfrm flipH="1">
            <a:off x="8321628" y="0"/>
            <a:ext cx="3867268" cy="3850111"/>
          </a:xfrm>
          <a:custGeom>
            <a:avLst/>
            <a:gdLst>
              <a:gd name="connsiteX0" fmla="*/ 3867268 w 3867268"/>
              <a:gd name="connsiteY0" fmla="*/ 0 h 3850111"/>
              <a:gd name="connsiteX1" fmla="*/ 0 w 3867268"/>
              <a:gd name="connsiteY1" fmla="*/ 0 h 3850111"/>
              <a:gd name="connsiteX2" fmla="*/ 0 w 3867268"/>
              <a:gd name="connsiteY2" fmla="*/ 457200 h 3850111"/>
              <a:gd name="connsiteX3" fmla="*/ 0 w 3867268"/>
              <a:gd name="connsiteY3" fmla="*/ 1672128 h 3850111"/>
              <a:gd name="connsiteX4" fmla="*/ 0 w 3867268"/>
              <a:gd name="connsiteY4" fmla="*/ 2129328 h 3850111"/>
              <a:gd name="connsiteX5" fmla="*/ 26183 w 3867268"/>
              <a:gd name="connsiteY5" fmla="*/ 2300888 h 3850111"/>
              <a:gd name="connsiteX6" fmla="*/ 1927016 w 3867268"/>
              <a:gd name="connsiteY6" fmla="*/ 3850111 h 3850111"/>
              <a:gd name="connsiteX7" fmla="*/ 3867268 w 3867268"/>
              <a:gd name="connsiteY7" fmla="*/ 1909860 h 3850111"/>
              <a:gd name="connsiteX8" fmla="*/ 3867268 w 3867268"/>
              <a:gd name="connsiteY8" fmla="*/ 1452659 h 3850111"/>
              <a:gd name="connsiteX9" fmla="*/ 3867268 w 3867268"/>
              <a:gd name="connsiteY9" fmla="*/ 457200 h 3850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67268" h="3850111">
                <a:moveTo>
                  <a:pt x="3867268" y="0"/>
                </a:moveTo>
                <a:lnTo>
                  <a:pt x="0" y="0"/>
                </a:lnTo>
                <a:lnTo>
                  <a:pt x="0" y="457200"/>
                </a:lnTo>
                <a:lnTo>
                  <a:pt x="0" y="1672128"/>
                </a:lnTo>
                <a:lnTo>
                  <a:pt x="0" y="2129328"/>
                </a:lnTo>
                <a:lnTo>
                  <a:pt x="26183" y="2300888"/>
                </a:lnTo>
                <a:cubicBezTo>
                  <a:pt x="207105" y="3185028"/>
                  <a:pt x="989391" y="3850111"/>
                  <a:pt x="1927016" y="3850111"/>
                </a:cubicBezTo>
                <a:cubicBezTo>
                  <a:pt x="2998588" y="3850111"/>
                  <a:pt x="3867268" y="2981431"/>
                  <a:pt x="3867268" y="1909860"/>
                </a:cubicBezTo>
                <a:lnTo>
                  <a:pt x="3867268" y="1452659"/>
                </a:lnTo>
                <a:lnTo>
                  <a:pt x="3867268" y="457200"/>
                </a:lnTo>
                <a:close/>
              </a:path>
            </a:pathLst>
          </a:custGeom>
          <a:gradFill>
            <a:gsLst>
              <a:gs pos="75000">
                <a:srgbClr val="140A42"/>
              </a:gs>
              <a:gs pos="0">
                <a:srgbClr val="00CCFF"/>
              </a:gs>
            </a:gsLst>
            <a:lin ang="135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50B38AA-2B30-B9A6-A77B-73C8C2812053}"/>
              </a:ext>
            </a:extLst>
          </p:cNvPr>
          <p:cNvSpPr/>
          <p:nvPr userDrawn="1"/>
        </p:nvSpPr>
        <p:spPr>
          <a:xfrm rot="16200000" flipH="1">
            <a:off x="10086560" y="1744672"/>
            <a:ext cx="1716534" cy="2494346"/>
          </a:xfrm>
          <a:custGeom>
            <a:avLst/>
            <a:gdLst>
              <a:gd name="connsiteX0" fmla="*/ 0 w 2808911"/>
              <a:gd name="connsiteY0" fmla="*/ 4081711 h 4081711"/>
              <a:gd name="connsiteX1" fmla="*/ 0 w 2808911"/>
              <a:gd name="connsiteY1" fmla="*/ 2051686 h 4081711"/>
              <a:gd name="connsiteX2" fmla="*/ 2051686 w 2808911"/>
              <a:gd name="connsiteY2" fmla="*/ 0 h 4081711"/>
              <a:gd name="connsiteX3" fmla="*/ 2063115 w 2808911"/>
              <a:gd name="connsiteY3" fmla="*/ 0 h 4081711"/>
              <a:gd name="connsiteX4" fmla="*/ 2673224 w 2808911"/>
              <a:gd name="connsiteY4" fmla="*/ 92240 h 4081711"/>
              <a:gd name="connsiteX5" fmla="*/ 2699582 w 2808911"/>
              <a:gd name="connsiteY5" fmla="*/ 101887 h 4081711"/>
              <a:gd name="connsiteX6" fmla="*/ 2708954 w 2808911"/>
              <a:gd name="connsiteY6" fmla="*/ 134890 h 4081711"/>
              <a:gd name="connsiteX7" fmla="*/ 2808911 w 2808911"/>
              <a:gd name="connsiteY7" fmla="*/ 928372 h 4081711"/>
              <a:gd name="connsiteX8" fmla="*/ 117432 w 2808911"/>
              <a:gd name="connsiteY8" fmla="*/ 4066789 h 4081711"/>
              <a:gd name="connsiteX9" fmla="*/ 0 w 2808911"/>
              <a:gd name="connsiteY9" fmla="*/ 4081711 h 408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8911" h="4081711">
                <a:moveTo>
                  <a:pt x="0" y="4081711"/>
                </a:moveTo>
                <a:lnTo>
                  <a:pt x="0" y="2051686"/>
                </a:lnTo>
                <a:cubicBezTo>
                  <a:pt x="0" y="918571"/>
                  <a:pt x="918572" y="-1"/>
                  <a:pt x="2051686" y="0"/>
                </a:cubicBezTo>
                <a:lnTo>
                  <a:pt x="2063115" y="0"/>
                </a:lnTo>
                <a:cubicBezTo>
                  <a:pt x="2275574" y="0"/>
                  <a:pt x="2480491" y="32293"/>
                  <a:pt x="2673224" y="92240"/>
                </a:cubicBezTo>
                <a:lnTo>
                  <a:pt x="2699582" y="101887"/>
                </a:lnTo>
                <a:lnTo>
                  <a:pt x="2708954" y="134890"/>
                </a:lnTo>
                <a:cubicBezTo>
                  <a:pt x="2774207" y="388507"/>
                  <a:pt x="2808911" y="654387"/>
                  <a:pt x="2808911" y="928372"/>
                </a:cubicBezTo>
                <a:cubicBezTo>
                  <a:pt x="2808911" y="2517485"/>
                  <a:pt x="1641452" y="3833923"/>
                  <a:pt x="117432" y="4066789"/>
                </a:cubicBezTo>
                <a:lnTo>
                  <a:pt x="0" y="4081711"/>
                </a:ln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278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8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68145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18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8475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103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26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4457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42569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47624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9191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838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54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01">
          <p15:clr>
            <a:srgbClr val="FBAE40"/>
          </p15:clr>
        </p15:guide>
        <p15:guide id="4" pos="23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6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6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69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9167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5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01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35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1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56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30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420635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70874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42870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0205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44102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4354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07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300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0266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39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34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3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4157B-15ED-445A-9EDD-9B6952316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845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4157B-15ED-445A-9EDD-9B6952316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0B57C2B3-6891-4DA8-9E01-921FE43EC8CC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56769BE-FF24-4503-A0A8-1B23CBEBD978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76238AD-B809-4B3D-B0BE-6924176147F2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CBBA0F07-9D09-4B4F-BC5B-6F60FC6BEA6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7A447684-B90C-4C99-8A9D-50768288DCD4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ED1A4D-1BBC-4AA2-B78E-D594D2AD580B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7DFF148-321E-48F0-B58B-2808223CF653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483C700-D1E0-4A80-9751-DD46FD24D0BD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F2C91C4D-44ED-411B-9FDE-EB2699ED9B08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A6933F41-E031-46B0-BC1E-2255DA591C53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1AC78E0-8605-4A2C-A5E0-E2BF13578C98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BEF7EBE-0A65-47DD-9378-DDFFF861C14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6FDD92EF-78C2-41E3-9849-821D6ED93F0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DB4FD17-32B4-48B0-AD6E-E58FC5A964E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530362A-CC14-46AD-8AF4-F37632E8A9F1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25DC9BB9-F4AA-4592-ACE1-133D0A49063B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6590F224-3AE8-461D-A0A2-6AC8C6280C06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9EF452F0-5AA9-441C-BA9D-B30A3FB5E7FB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66A6130-1396-4D64-87C3-58B121F19519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6895299-970E-497E-85D4-C86635487913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B0A111-AC86-4432-9219-943869C6619B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605F8A74-54AE-4A77-BF5D-0E4A482660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E02432C-76AD-4F2B-AECA-B20E080CFED7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FC28919-ED5E-4E8B-98AE-D594B2B91964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816F1871-A80D-4526-85C6-1A2AB93072AA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157243A-7DAC-4244-9A5D-59FA3AF3790B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1B43125-5F2A-4430-912D-13E776DA3794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201B25E1-AB0E-4EB5-A9AF-1983CB34E87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969708" y="1566337"/>
            <a:ext cx="9687852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977266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5081388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8458115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969707" y="2097669"/>
            <a:ext cx="9687851" cy="369332"/>
            <a:chOff x="1797664" y="2616963"/>
            <a:chExt cx="8657274" cy="369332"/>
          </a:xfrm>
          <a:noFill/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6976061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507251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8468205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437849" y="2427296"/>
            <a:ext cx="9163984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02650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5124151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850855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437847" y="2783817"/>
            <a:ext cx="9163983" cy="369332"/>
            <a:chOff x="2265804" y="3694411"/>
            <a:chExt cx="8189134" cy="369332"/>
          </a:xfrm>
          <a:noFill/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026504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5134235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850855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DURATION&gt;</a:t>
              </a:r>
            </a:p>
          </p:txBody>
        </p:sp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id="{3F6B5101-F0DA-4DEA-9130-F26443CAEBFB}"/>
              </a:ext>
            </a:extLst>
          </p:cNvPr>
          <p:cNvSpPr>
            <a:spLocks noGrp="1"/>
          </p:cNvSpPr>
          <p:nvPr userDrawn="1">
            <p:ph type="title" sz="quarter" idx="14" hasCustomPrompt="1"/>
          </p:nvPr>
        </p:nvSpPr>
        <p:spPr>
          <a:xfrm>
            <a:off x="1973995" y="861658"/>
            <a:ext cx="9163983" cy="557611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5346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23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F00995-10B9-4A6A-A2A1-D8A31142B41D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9C9D346-85EB-40B2-8A2B-19DB2A92DB2A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EC268BA-C08A-4C38-97B6-E94209031785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AC0A5C8E-81CB-414E-A1C6-77485EDBFC17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A73BE3A-3964-409D-9E42-4EB69AD5953D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9A92D2EB-3DBC-490E-9DE6-A92EF29FE7E2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153A842-B929-48CB-AC66-68DD2D7ED4D2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3A6D6D3-9DC7-41F4-AC58-52BDA1658FE3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AC7A9326-EAFC-4BAF-BD47-91FF55716EE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66675D94-1BEA-4F59-867F-291905A75405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C137B59-F0EB-480E-952E-51A98CA99A32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DAD1D9C-8748-4EC9-AD40-477548367950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F2B152B-EE67-4339-A086-F1E97AAEF67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80C8650-55C9-4ED2-B40D-671610C2D69F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F016A28-1188-4CF9-A204-346551675888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1F0BBD90-3BB0-4D0C-B89D-7E109C4092D2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3D9233E7-53E5-4B79-82EA-2FE7639DA27D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68CFD81-83EF-41DD-B6FB-6828FFB099DC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872365B-E981-4D60-893C-E24687F967AA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4BD07C3-2F57-48F4-B516-D42D36912922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3F796E19-36EC-4E6A-8CAE-97721033032D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E142AC5-EE61-4F8A-9941-60615E682C21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43EB0B0-5EC9-43DD-A335-A8A5722F2E8C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AE73A40-5122-4D00-814E-72F7502483D0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178B33C-2AF6-478C-94A2-893456F15E89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9D8600-BF22-41AD-AF89-75D968F92C72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D59CC96-A48C-4AC4-AE70-D24AB2FB8D16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935AE6DF-F5B6-4C49-9F72-CF1C8061190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88" name="Title 1">
            <a:extLst>
              <a:ext uri="{FF2B5EF4-FFF2-40B4-BE49-F238E27FC236}">
                <a16:creationId xmlns:a16="http://schemas.microsoft.com/office/drawing/2014/main" id="{D6B9EAB4-6E88-49E6-A646-370B36253FD6}"/>
              </a:ext>
            </a:extLst>
          </p:cNvPr>
          <p:cNvSpPr>
            <a:spLocks noGrp="1"/>
          </p:cNvSpPr>
          <p:nvPr>
            <p:ph type="title" sz="quarter" idx="14" hasCustomPrompt="1"/>
          </p:nvPr>
        </p:nvSpPr>
        <p:spPr>
          <a:xfrm>
            <a:off x="1973995" y="861658"/>
            <a:ext cx="9163983" cy="557611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31" name="SP Agenda Section" hidden="1">
            <a:extLst>
              <a:ext uri="{FF2B5EF4-FFF2-40B4-BE49-F238E27FC236}">
                <a16:creationId xmlns:a16="http://schemas.microsoft.com/office/drawing/2014/main" id="{21AB9CC0-C368-4852-9236-7A04591F0217}"/>
              </a:ext>
            </a:extLst>
          </p:cNvPr>
          <p:cNvGrpSpPr/>
          <p:nvPr userDrawn="1"/>
        </p:nvGrpSpPr>
        <p:grpSpPr>
          <a:xfrm>
            <a:off x="1969708" y="1566337"/>
            <a:ext cx="9687852" cy="369332"/>
            <a:chOff x="1797664" y="2085631"/>
            <a:chExt cx="8657274" cy="369332"/>
          </a:xfrm>
        </p:grpSpPr>
        <p:sp>
          <p:nvSpPr>
            <p:cNvPr id="132" name="Textbox" hidden="1">
              <a:extLst>
                <a:ext uri="{FF2B5EF4-FFF2-40B4-BE49-F238E27FC236}">
                  <a16:creationId xmlns:a16="http://schemas.microsoft.com/office/drawing/2014/main" id="{3AB182DB-D8C0-4F05-B8C9-681A6EC8A82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/>
                <a:t>&lt;TEXT&gt;</a:t>
              </a:r>
            </a:p>
          </p:txBody>
        </p:sp>
        <p:sp>
          <p:nvSpPr>
            <p:cNvPr id="133" name="Textbox" hidden="1">
              <a:extLst>
                <a:ext uri="{FF2B5EF4-FFF2-40B4-BE49-F238E27FC236}">
                  <a16:creationId xmlns:a16="http://schemas.microsoft.com/office/drawing/2014/main" id="{1F506675-9953-420C-89AA-C48CBADE5AD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/>
                <a:t>&lt;N&gt;</a:t>
              </a:r>
            </a:p>
          </p:txBody>
        </p:sp>
        <p:sp>
          <p:nvSpPr>
            <p:cNvPr id="134" name="Textbox" hidden="1">
              <a:extLst>
                <a:ext uri="{FF2B5EF4-FFF2-40B4-BE49-F238E27FC236}">
                  <a16:creationId xmlns:a16="http://schemas.microsoft.com/office/drawing/2014/main" id="{D7797BBE-CC80-4DBD-8171-2402556AAA7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/>
                <a:t>&lt;P&gt;</a:t>
              </a:r>
            </a:p>
          </p:txBody>
        </p:sp>
        <p:sp>
          <p:nvSpPr>
            <p:cNvPr id="135" name="Textbox" hidden="1">
              <a:extLst>
                <a:ext uri="{FF2B5EF4-FFF2-40B4-BE49-F238E27FC236}">
                  <a16:creationId xmlns:a16="http://schemas.microsoft.com/office/drawing/2014/main" id="{C0C0C783-AD38-40F8-99C4-2E90BDEEFE3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77266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TIMESLOT&gt;</a:t>
              </a:r>
            </a:p>
          </p:txBody>
        </p:sp>
        <p:sp>
          <p:nvSpPr>
            <p:cNvPr id="136" name="Textbox" hidden="1">
              <a:extLst>
                <a:ext uri="{FF2B5EF4-FFF2-40B4-BE49-F238E27FC236}">
                  <a16:creationId xmlns:a16="http://schemas.microsoft.com/office/drawing/2014/main" id="{272C9E9E-6641-4422-93BE-737BE02E753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081388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RESPONSIBLE&gt;</a:t>
              </a:r>
            </a:p>
          </p:txBody>
        </p:sp>
        <p:sp>
          <p:nvSpPr>
            <p:cNvPr id="137" name="Textbox" hidden="1">
              <a:extLst>
                <a:ext uri="{FF2B5EF4-FFF2-40B4-BE49-F238E27FC236}">
                  <a16:creationId xmlns:a16="http://schemas.microsoft.com/office/drawing/2014/main" id="{89D1EE13-FE88-4A51-9BBF-320DFE84878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458115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/>
                <a:t>&lt;DURATION&gt;</a:t>
              </a:r>
            </a:p>
          </p:txBody>
        </p:sp>
      </p:grpSp>
      <p:grpSp>
        <p:nvGrpSpPr>
          <p:cNvPr id="138" name="SP Agenda Section Highlight" hidden="1">
            <a:extLst>
              <a:ext uri="{FF2B5EF4-FFF2-40B4-BE49-F238E27FC236}">
                <a16:creationId xmlns:a16="http://schemas.microsoft.com/office/drawing/2014/main" id="{4F5D7C69-1EDC-456E-86E7-4B93FE001C11}"/>
              </a:ext>
            </a:extLst>
          </p:cNvPr>
          <p:cNvGrpSpPr>
            <a:grpSpLocks/>
          </p:cNvGrpSpPr>
          <p:nvPr userDrawn="1"/>
        </p:nvGrpSpPr>
        <p:grpSpPr>
          <a:xfrm>
            <a:off x="1969707" y="2097669"/>
            <a:ext cx="9687851" cy="369332"/>
            <a:chOff x="1797664" y="2616963"/>
            <a:chExt cx="8657274" cy="369332"/>
          </a:xfrm>
          <a:noFill/>
        </p:grpSpPr>
        <p:sp>
          <p:nvSpPr>
            <p:cNvPr id="139" name="Textbox" hidden="1">
              <a:extLst>
                <a:ext uri="{FF2B5EF4-FFF2-40B4-BE49-F238E27FC236}">
                  <a16:creationId xmlns:a16="http://schemas.microsoft.com/office/drawing/2014/main" id="{4F0651FC-CCAE-4CA5-A306-3D32FEDE000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>
                  <a:schemeClr val="accent1"/>
                </a:buClr>
                <a:buFont typeface="Arial" panose="020B0604020202020204" pitchFamily="34" charset="0"/>
                <a:buChar char="+"/>
                <a:tabLst>
                  <a:tab pos="9512062" algn="l"/>
                </a:tabLst>
              </a:pPr>
              <a:r>
                <a:rPr lang="en-US" sz="1800" b="1"/>
                <a:t>&lt;TEXT&gt;</a:t>
              </a:r>
            </a:p>
          </p:txBody>
        </p:sp>
        <p:sp>
          <p:nvSpPr>
            <p:cNvPr id="140" name="Textbox" hidden="1">
              <a:extLst>
                <a:ext uri="{FF2B5EF4-FFF2-40B4-BE49-F238E27FC236}">
                  <a16:creationId xmlns:a16="http://schemas.microsoft.com/office/drawing/2014/main" id="{2BECDC34-551C-4469-8214-32EF54DCFAD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/>
                <a:t>&lt;N&gt;</a:t>
              </a:r>
            </a:p>
          </p:txBody>
        </p:sp>
        <p:sp>
          <p:nvSpPr>
            <p:cNvPr id="141" name="Textbox" hidden="1">
              <a:extLst>
                <a:ext uri="{FF2B5EF4-FFF2-40B4-BE49-F238E27FC236}">
                  <a16:creationId xmlns:a16="http://schemas.microsoft.com/office/drawing/2014/main" id="{5410C8DF-1809-4F92-9F49-4AC74B1A54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/>
                <a:t>&lt;P&gt;</a:t>
              </a:r>
            </a:p>
          </p:txBody>
        </p:sp>
        <p:sp>
          <p:nvSpPr>
            <p:cNvPr id="142" name="Textbox" hidden="1">
              <a:extLst>
                <a:ext uri="{FF2B5EF4-FFF2-40B4-BE49-F238E27FC236}">
                  <a16:creationId xmlns:a16="http://schemas.microsoft.com/office/drawing/2014/main" id="{6431383D-2892-4E73-8488-8D1B40D006E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76061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TIMESLOT&gt;</a:t>
              </a:r>
            </a:p>
          </p:txBody>
        </p:sp>
        <p:sp>
          <p:nvSpPr>
            <p:cNvPr id="143" name="Textbox" hidden="1">
              <a:extLst>
                <a:ext uri="{FF2B5EF4-FFF2-40B4-BE49-F238E27FC236}">
                  <a16:creationId xmlns:a16="http://schemas.microsoft.com/office/drawing/2014/main" id="{B69DE84F-D505-4E24-9398-1FC53DCE647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07251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RESPONSIBLE&gt;</a:t>
              </a:r>
            </a:p>
          </p:txBody>
        </p:sp>
        <p:sp>
          <p:nvSpPr>
            <p:cNvPr id="144" name="Textbox" hidden="1">
              <a:extLst>
                <a:ext uri="{FF2B5EF4-FFF2-40B4-BE49-F238E27FC236}">
                  <a16:creationId xmlns:a16="http://schemas.microsoft.com/office/drawing/2014/main" id="{D44178F6-90C8-4BE0-89E1-80FF5554FC4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468205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800" b="1"/>
                <a:t>&lt;DURATION&gt;</a:t>
              </a:r>
            </a:p>
          </p:txBody>
        </p:sp>
      </p:grpSp>
      <p:grpSp>
        <p:nvGrpSpPr>
          <p:cNvPr id="145" name="SP Agenda Subsection" hidden="1">
            <a:extLst>
              <a:ext uri="{FF2B5EF4-FFF2-40B4-BE49-F238E27FC236}">
                <a16:creationId xmlns:a16="http://schemas.microsoft.com/office/drawing/2014/main" id="{8C75163C-59E1-444D-9DEA-A211F316EF35}"/>
              </a:ext>
            </a:extLst>
          </p:cNvPr>
          <p:cNvGrpSpPr>
            <a:grpSpLocks/>
          </p:cNvGrpSpPr>
          <p:nvPr userDrawn="1"/>
        </p:nvGrpSpPr>
        <p:grpSpPr>
          <a:xfrm>
            <a:off x="2437849" y="2427296"/>
            <a:ext cx="9163984" cy="369332"/>
            <a:chOff x="2265804" y="3155687"/>
            <a:chExt cx="8189134" cy="369332"/>
          </a:xfrm>
        </p:grpSpPr>
        <p:sp>
          <p:nvSpPr>
            <p:cNvPr id="146" name="Textbox" hidden="1">
              <a:extLst>
                <a:ext uri="{FF2B5EF4-FFF2-40B4-BE49-F238E27FC236}">
                  <a16:creationId xmlns:a16="http://schemas.microsoft.com/office/drawing/2014/main" id="{5435EDBE-4B46-479E-A3EE-8BE2AEAA56A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/>
                <a:t>&lt;TEXT&gt;</a:t>
              </a:r>
            </a:p>
          </p:txBody>
        </p:sp>
        <p:sp>
          <p:nvSpPr>
            <p:cNvPr id="147" name="Textbox" hidden="1">
              <a:extLst>
                <a:ext uri="{FF2B5EF4-FFF2-40B4-BE49-F238E27FC236}">
                  <a16:creationId xmlns:a16="http://schemas.microsoft.com/office/drawing/2014/main" id="{250997A5-3479-4B8B-95FE-94C2315C044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/>
                <a:t>&lt;N&gt;</a:t>
              </a:r>
            </a:p>
          </p:txBody>
        </p:sp>
        <p:sp>
          <p:nvSpPr>
            <p:cNvPr id="148" name="Textbox" hidden="1">
              <a:extLst>
                <a:ext uri="{FF2B5EF4-FFF2-40B4-BE49-F238E27FC236}">
                  <a16:creationId xmlns:a16="http://schemas.microsoft.com/office/drawing/2014/main" id="{107FC083-CF43-4321-BD28-41171A6B15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/>
                <a:t>&lt;P&gt;</a:t>
              </a:r>
            </a:p>
          </p:txBody>
        </p:sp>
        <p:sp>
          <p:nvSpPr>
            <p:cNvPr id="149" name="Textbox" hidden="1">
              <a:extLst>
                <a:ext uri="{FF2B5EF4-FFF2-40B4-BE49-F238E27FC236}">
                  <a16:creationId xmlns:a16="http://schemas.microsoft.com/office/drawing/2014/main" id="{231F4168-70DA-47DC-B87F-8463217646E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2650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TIMESLOT&gt;</a:t>
              </a:r>
            </a:p>
          </p:txBody>
        </p:sp>
        <p:sp>
          <p:nvSpPr>
            <p:cNvPr id="150" name="Textbox" hidden="1">
              <a:extLst>
                <a:ext uri="{FF2B5EF4-FFF2-40B4-BE49-F238E27FC236}">
                  <a16:creationId xmlns:a16="http://schemas.microsoft.com/office/drawing/2014/main" id="{17FB603F-741C-48A6-8DEA-F7491E96E9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124151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RESPONSIBLE&gt;</a:t>
              </a:r>
            </a:p>
          </p:txBody>
        </p:sp>
        <p:sp>
          <p:nvSpPr>
            <p:cNvPr id="151" name="Textbox" hidden="1">
              <a:extLst>
                <a:ext uri="{FF2B5EF4-FFF2-40B4-BE49-F238E27FC236}">
                  <a16:creationId xmlns:a16="http://schemas.microsoft.com/office/drawing/2014/main" id="{F731F62F-12E6-4CED-B13E-9E9F2551B2B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50855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/>
                <a:t>&lt;DURATION&gt;</a:t>
              </a:r>
            </a:p>
          </p:txBody>
        </p:sp>
      </p:grpSp>
      <p:grpSp>
        <p:nvGrpSpPr>
          <p:cNvPr id="152" name="SP Agenda Subsection Highlight" hidden="1">
            <a:extLst>
              <a:ext uri="{FF2B5EF4-FFF2-40B4-BE49-F238E27FC236}">
                <a16:creationId xmlns:a16="http://schemas.microsoft.com/office/drawing/2014/main" id="{D7F81F7A-5B11-43C7-967D-8D403A43E417}"/>
              </a:ext>
            </a:extLst>
          </p:cNvPr>
          <p:cNvGrpSpPr>
            <a:grpSpLocks/>
          </p:cNvGrpSpPr>
          <p:nvPr userDrawn="1"/>
        </p:nvGrpSpPr>
        <p:grpSpPr>
          <a:xfrm>
            <a:off x="2437847" y="2783817"/>
            <a:ext cx="9163983" cy="369332"/>
            <a:chOff x="2265804" y="3694411"/>
            <a:chExt cx="8189134" cy="369332"/>
          </a:xfrm>
          <a:noFill/>
        </p:grpSpPr>
        <p:sp>
          <p:nvSpPr>
            <p:cNvPr id="153" name="Textbox" hidden="1">
              <a:extLst>
                <a:ext uri="{FF2B5EF4-FFF2-40B4-BE49-F238E27FC236}">
                  <a16:creationId xmlns:a16="http://schemas.microsoft.com/office/drawing/2014/main" id="{BF297698-0EFA-4C5B-B190-460E5A56A5D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marL="285750" indent="-285750" defTabSz="9334267">
                <a:buClrTx/>
                <a:buFont typeface="Arial" panose="020B0604020202020204" pitchFamily="34" charset="0"/>
                <a:buChar char="•"/>
                <a:tabLst>
                  <a:tab pos="9512062" algn="l"/>
                </a:tabLst>
              </a:pPr>
              <a:r>
                <a:rPr lang="en-US" sz="1600" b="1"/>
                <a:t>&lt;TEXT&gt;</a:t>
              </a:r>
            </a:p>
          </p:txBody>
        </p:sp>
        <p:sp>
          <p:nvSpPr>
            <p:cNvPr id="154" name="Textbox" hidden="1">
              <a:extLst>
                <a:ext uri="{FF2B5EF4-FFF2-40B4-BE49-F238E27FC236}">
                  <a16:creationId xmlns:a16="http://schemas.microsoft.com/office/drawing/2014/main" id="{7E145D72-54FC-4BAA-8426-B9D43E99C8E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/>
                <a:t>&lt;N&gt;</a:t>
              </a:r>
            </a:p>
          </p:txBody>
        </p:sp>
        <p:sp>
          <p:nvSpPr>
            <p:cNvPr id="155" name="Textbox" hidden="1">
              <a:extLst>
                <a:ext uri="{FF2B5EF4-FFF2-40B4-BE49-F238E27FC236}">
                  <a16:creationId xmlns:a16="http://schemas.microsoft.com/office/drawing/2014/main" id="{905200E7-7D6E-4141-93B5-341DFE3E1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/>
                <a:t>&lt;P&gt;</a:t>
              </a:r>
            </a:p>
          </p:txBody>
        </p:sp>
        <p:sp>
          <p:nvSpPr>
            <p:cNvPr id="156" name="Textbox" hidden="1">
              <a:extLst>
                <a:ext uri="{FF2B5EF4-FFF2-40B4-BE49-F238E27FC236}">
                  <a16:creationId xmlns:a16="http://schemas.microsoft.com/office/drawing/2014/main" id="{88E53779-D335-4E6B-B08E-61D09E0B41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26504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TIMESLOT&gt;</a:t>
              </a:r>
            </a:p>
          </p:txBody>
        </p:sp>
        <p:sp>
          <p:nvSpPr>
            <p:cNvPr id="157" name="Textbox" hidden="1">
              <a:extLst>
                <a:ext uri="{FF2B5EF4-FFF2-40B4-BE49-F238E27FC236}">
                  <a16:creationId xmlns:a16="http://schemas.microsoft.com/office/drawing/2014/main" id="{5658D305-2858-403B-AE34-055F6D3B3D0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5134235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RESPONSIBLE&gt;</a:t>
              </a:r>
            </a:p>
          </p:txBody>
        </p:sp>
        <p:sp>
          <p:nvSpPr>
            <p:cNvPr id="158" name="Textbox" hidden="1">
              <a:extLst>
                <a:ext uri="{FF2B5EF4-FFF2-40B4-BE49-F238E27FC236}">
                  <a16:creationId xmlns:a16="http://schemas.microsoft.com/office/drawing/2014/main" id="{BB8F9753-FA9F-470A-922A-19B7C7E8ED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50855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/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349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732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slideLayout" Target="../slideLayouts/slideLayout53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image" Target="../media/image34.emf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oleObject" Target="../embeddings/oleObject35.bin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tags" Target="../tags/tag35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0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A178775F-1252-684E-99A4-B2CD2523EDEE}" type="datetimeFigureOut">
              <a:rPr lang="en-US" smtClean="0"/>
              <a:t>7/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050A6DD2-414D-AB49-AA45-196D830C1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782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D5707B5-4B1B-A573-DE59-103C6B9B3857}"/>
              </a:ext>
            </a:extLst>
          </p:cNvPr>
          <p:cNvGraphicFramePr>
            <a:graphicFrameLocks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62161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95" imgH="396" progId="TCLayout.ActiveDocument.1">
                  <p:embed/>
                </p:oleObj>
              </mc:Choice>
              <mc:Fallback>
                <p:oleObj name="think-cell Slide" r:id="rId38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707B5-4B1B-A573-DE59-103C6B9B3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Noto Sans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oto Sans"/>
                <a:ea typeface="+mn-ea"/>
                <a:cs typeface="+mn-cs"/>
              </a:rPr>
              <a:t>IQVIA Template (V4.0.0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Noto Sans"/>
              <a:ea typeface="Arial" charset="0"/>
              <a:cs typeface="Arial" charset="0"/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9FB6BC3-1B53-2FE2-764B-A15DD9E2BD6B}"/>
              </a:ext>
            </a:extLst>
          </p:cNvPr>
          <p:cNvGrpSpPr/>
          <p:nvPr userDrawn="1"/>
        </p:nvGrpSpPr>
        <p:grpSpPr>
          <a:xfrm>
            <a:off x="12308083" y="0"/>
            <a:ext cx="851744" cy="3736190"/>
            <a:chOff x="12308083" y="0"/>
            <a:chExt cx="851744" cy="373619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8B1BCA1-589B-A8E6-DE21-36891188309A}"/>
                </a:ext>
              </a:extLst>
            </p:cNvPr>
            <p:cNvGrpSpPr/>
            <p:nvPr userDrawn="1"/>
          </p:nvGrpSpPr>
          <p:grpSpPr>
            <a:xfrm>
              <a:off x="12308083" y="2649326"/>
              <a:ext cx="851743" cy="187184"/>
              <a:chOff x="12308083" y="2627114"/>
              <a:chExt cx="851743" cy="187184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F46DD2B6-4144-9C44-8392-9127F5DADBD1}"/>
                  </a:ext>
                </a:extLst>
              </p:cNvPr>
              <p:cNvSpPr/>
              <p:nvPr/>
            </p:nvSpPr>
            <p:spPr bwMode="gray">
              <a:xfrm>
                <a:off x="12308083" y="2627114"/>
                <a:ext cx="187184" cy="187184"/>
              </a:xfrm>
              <a:prstGeom prst="rect">
                <a:avLst/>
              </a:prstGeom>
              <a:solidFill>
                <a:srgbClr val="2B3A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BBE2A7EF-3365-0441-9D19-475B521B2290}"/>
                  </a:ext>
                </a:extLst>
              </p:cNvPr>
              <p:cNvSpPr/>
              <p:nvPr/>
            </p:nvSpPr>
            <p:spPr bwMode="gray">
              <a:xfrm>
                <a:off x="12751123" y="2627114"/>
                <a:ext cx="187184" cy="187184"/>
              </a:xfrm>
              <a:prstGeom prst="rect">
                <a:avLst/>
              </a:prstGeom>
              <a:solidFill>
                <a:srgbClr val="606B7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F5E57586-5BBB-444A-AF8C-B41739BFA68E}"/>
                  </a:ext>
                </a:extLst>
              </p:cNvPr>
              <p:cNvSpPr/>
              <p:nvPr/>
            </p:nvSpPr>
            <p:spPr bwMode="gray">
              <a:xfrm>
                <a:off x="12972642" y="2627114"/>
                <a:ext cx="187184" cy="187184"/>
              </a:xfrm>
              <a:prstGeom prst="rect">
                <a:avLst/>
              </a:prstGeom>
              <a:solidFill>
                <a:srgbClr val="CACE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7900B15B-0301-9442-BA29-DAF74AC2ED47}"/>
                  </a:ext>
                </a:extLst>
              </p:cNvPr>
              <p:cNvSpPr/>
              <p:nvPr/>
            </p:nvSpPr>
            <p:spPr bwMode="gray">
              <a:xfrm>
                <a:off x="12529603" y="2627114"/>
                <a:ext cx="187184" cy="187184"/>
              </a:xfrm>
              <a:prstGeom prst="rect">
                <a:avLst/>
              </a:prstGeom>
              <a:solidFill>
                <a:srgbClr val="959C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12308083" y="0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100%  50%   75%   25%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307F83F-C095-6957-9133-BF721D059EDD}"/>
                </a:ext>
              </a:extLst>
            </p:cNvPr>
            <p:cNvGrpSpPr/>
            <p:nvPr userDrawn="1"/>
          </p:nvGrpSpPr>
          <p:grpSpPr>
            <a:xfrm>
              <a:off x="12308083" y="419226"/>
              <a:ext cx="851743" cy="188638"/>
              <a:chOff x="12308083" y="418248"/>
              <a:chExt cx="851743" cy="188638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51FF5A3B-DFB1-5F43-A2EF-04D81F0CA37E}"/>
                  </a:ext>
                </a:extLst>
              </p:cNvPr>
              <p:cNvSpPr/>
              <p:nvPr/>
            </p:nvSpPr>
            <p:spPr bwMode="gray">
              <a:xfrm>
                <a:off x="12529603" y="418248"/>
                <a:ext cx="187184" cy="187184"/>
              </a:xfrm>
              <a:prstGeom prst="rect">
                <a:avLst/>
              </a:prstGeom>
              <a:solidFill>
                <a:srgbClr val="7FAAC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C2D4C9F2-E663-FE4E-91B5-486C3221C4FF}"/>
                  </a:ext>
                </a:extLst>
              </p:cNvPr>
              <p:cNvSpPr/>
              <p:nvPr/>
            </p:nvSpPr>
            <p:spPr bwMode="gray">
              <a:xfrm>
                <a:off x="12751122" y="418248"/>
                <a:ext cx="187184" cy="187184"/>
              </a:xfrm>
              <a:prstGeom prst="rect">
                <a:avLst/>
              </a:prstGeom>
              <a:solidFill>
                <a:srgbClr val="4080A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8F062A5-65F4-EC4E-99C6-45D7627564E3}"/>
                  </a:ext>
                </a:extLst>
              </p:cNvPr>
              <p:cNvSpPr/>
              <p:nvPr/>
            </p:nvSpPr>
            <p:spPr bwMode="gray">
              <a:xfrm>
                <a:off x="12972642" y="418248"/>
                <a:ext cx="187184" cy="187184"/>
              </a:xfrm>
              <a:prstGeom prst="rect">
                <a:avLst/>
              </a:prstGeom>
              <a:solidFill>
                <a:srgbClr val="BFD4E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7BC28099-48BB-8E4A-9E3A-F5749D3F9E0A}"/>
                  </a:ext>
                </a:extLst>
              </p:cNvPr>
              <p:cNvSpPr/>
              <p:nvPr/>
            </p:nvSpPr>
            <p:spPr bwMode="gray">
              <a:xfrm>
                <a:off x="12308083" y="419702"/>
                <a:ext cx="187184" cy="187184"/>
              </a:xfrm>
              <a:prstGeom prst="rect">
                <a:avLst/>
              </a:prstGeom>
              <a:solidFill>
                <a:srgbClr val="005587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4D31852-4FF2-4DC7-9F4F-12F33E8E006F}"/>
                </a:ext>
              </a:extLst>
            </p:cNvPr>
            <p:cNvGrpSpPr/>
            <p:nvPr userDrawn="1"/>
          </p:nvGrpSpPr>
          <p:grpSpPr>
            <a:xfrm>
              <a:off x="12308083" y="196943"/>
              <a:ext cx="851743" cy="187184"/>
              <a:chOff x="12308083" y="196943"/>
              <a:chExt cx="851743" cy="187184"/>
            </a:xfrm>
          </p:grpSpPr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FABDCF59-39B4-D741-804B-DA8E5356DEE0}"/>
                  </a:ext>
                </a:extLst>
              </p:cNvPr>
              <p:cNvSpPr/>
              <p:nvPr/>
            </p:nvSpPr>
            <p:spPr bwMode="gray">
              <a:xfrm>
                <a:off x="12529603" y="196943"/>
                <a:ext cx="187184" cy="187184"/>
              </a:xfrm>
              <a:prstGeom prst="rect">
                <a:avLst/>
              </a:prstGeom>
              <a:solidFill>
                <a:srgbClr val="7FD1E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48595AD6-FC65-BD4F-A0A3-C9735B09BF97}"/>
                  </a:ext>
                </a:extLst>
              </p:cNvPr>
              <p:cNvSpPr/>
              <p:nvPr/>
            </p:nvSpPr>
            <p:spPr bwMode="gray">
              <a:xfrm>
                <a:off x="12751122" y="196943"/>
                <a:ext cx="187184" cy="187184"/>
              </a:xfrm>
              <a:prstGeom prst="rect">
                <a:avLst/>
              </a:prstGeom>
              <a:solidFill>
                <a:srgbClr val="40BAE8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4E87748B-6503-C94A-A0A5-ECF75744DC53}"/>
                  </a:ext>
                </a:extLst>
              </p:cNvPr>
              <p:cNvSpPr/>
              <p:nvPr/>
            </p:nvSpPr>
            <p:spPr bwMode="gray">
              <a:xfrm>
                <a:off x="12972642" y="196943"/>
                <a:ext cx="187184" cy="187184"/>
              </a:xfrm>
              <a:prstGeom prst="rect">
                <a:avLst/>
              </a:prstGeom>
              <a:solidFill>
                <a:srgbClr val="BFE8F7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1412DE59-4F68-1A4F-81B2-F45A075CF184}"/>
                  </a:ext>
                </a:extLst>
              </p:cNvPr>
              <p:cNvSpPr/>
              <p:nvPr/>
            </p:nvSpPr>
            <p:spPr bwMode="gray">
              <a:xfrm>
                <a:off x="12308083" y="196943"/>
                <a:ext cx="187184" cy="187184"/>
              </a:xfrm>
              <a:prstGeom prst="rect">
                <a:avLst/>
              </a:prstGeom>
              <a:solidFill>
                <a:srgbClr val="00A3E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AA79F80-D902-1962-861B-63DE988E9D1F}"/>
                </a:ext>
              </a:extLst>
            </p:cNvPr>
            <p:cNvGrpSpPr/>
            <p:nvPr userDrawn="1"/>
          </p:nvGrpSpPr>
          <p:grpSpPr>
            <a:xfrm>
              <a:off x="12308083" y="1087529"/>
              <a:ext cx="851743" cy="190092"/>
              <a:chOff x="12308083" y="1080414"/>
              <a:chExt cx="851743" cy="190092"/>
            </a:xfrm>
          </p:grpSpPr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C91C1BDA-5D81-794C-B1A7-67CC9CE1EE1E}"/>
                  </a:ext>
                </a:extLst>
              </p:cNvPr>
              <p:cNvSpPr/>
              <p:nvPr/>
            </p:nvSpPr>
            <p:spPr bwMode="gray">
              <a:xfrm>
                <a:off x="12529603" y="1080414"/>
                <a:ext cx="187184" cy="187184"/>
              </a:xfrm>
              <a:prstGeom prst="rect">
                <a:avLst/>
              </a:prstGeom>
              <a:solidFill>
                <a:srgbClr val="7FDFD9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E26E8257-987A-C249-A28B-F90461918BC4}"/>
                  </a:ext>
                </a:extLst>
              </p:cNvPr>
              <p:cNvSpPr/>
              <p:nvPr/>
            </p:nvSpPr>
            <p:spPr bwMode="gray">
              <a:xfrm>
                <a:off x="12751122" y="1080414"/>
                <a:ext cx="187184" cy="187184"/>
              </a:xfrm>
              <a:prstGeom prst="rect">
                <a:avLst/>
              </a:prstGeom>
              <a:solidFill>
                <a:srgbClr val="40CFC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9C325A48-0CB1-104E-BA30-9A71DD6D61AB}"/>
                  </a:ext>
                </a:extLst>
              </p:cNvPr>
              <p:cNvSpPr/>
              <p:nvPr/>
            </p:nvSpPr>
            <p:spPr bwMode="gray">
              <a:xfrm>
                <a:off x="12972642" y="1080414"/>
                <a:ext cx="187184" cy="187184"/>
              </a:xfrm>
              <a:prstGeom prst="rect">
                <a:avLst/>
              </a:prstGeom>
              <a:solidFill>
                <a:srgbClr val="BFEFE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96B5B61B-C053-424B-AAFB-3CAEB0DDF986}"/>
                  </a:ext>
                </a:extLst>
              </p:cNvPr>
              <p:cNvSpPr/>
              <p:nvPr/>
            </p:nvSpPr>
            <p:spPr bwMode="gray">
              <a:xfrm>
                <a:off x="12308083" y="1083322"/>
                <a:ext cx="187184" cy="187184"/>
              </a:xfrm>
              <a:prstGeom prst="rect">
                <a:avLst/>
              </a:prstGeom>
              <a:solidFill>
                <a:srgbClr val="00BFB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E9EF6F7-8078-2AA2-2468-0446932D2A36}"/>
                </a:ext>
              </a:extLst>
            </p:cNvPr>
            <p:cNvGrpSpPr/>
            <p:nvPr userDrawn="1"/>
          </p:nvGrpSpPr>
          <p:grpSpPr>
            <a:xfrm>
              <a:off x="12308083" y="2204760"/>
              <a:ext cx="851743" cy="187184"/>
              <a:chOff x="12308083" y="2181904"/>
              <a:chExt cx="851743" cy="187184"/>
            </a:xfrm>
          </p:grpSpPr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A9EA6558-DD3B-7A4C-91B0-97252C1832CF}"/>
                  </a:ext>
                </a:extLst>
              </p:cNvPr>
              <p:cNvSpPr/>
              <p:nvPr/>
            </p:nvSpPr>
            <p:spPr bwMode="gray">
              <a:xfrm>
                <a:off x="12308083" y="2181904"/>
                <a:ext cx="187184" cy="187184"/>
              </a:xfrm>
              <a:prstGeom prst="rect">
                <a:avLst/>
              </a:prstGeom>
              <a:solidFill>
                <a:srgbClr val="02722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E34F6D7E-6CD3-7B49-9F1D-6D78AACEFF91}"/>
                  </a:ext>
                </a:extLst>
              </p:cNvPr>
              <p:cNvSpPr/>
              <p:nvPr/>
            </p:nvSpPr>
            <p:spPr bwMode="gray">
              <a:xfrm>
                <a:off x="12529603" y="2181904"/>
                <a:ext cx="187184" cy="187184"/>
              </a:xfrm>
              <a:prstGeom prst="rect">
                <a:avLst/>
              </a:prstGeom>
              <a:solidFill>
                <a:srgbClr val="80B89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C91976CC-682F-9849-BB70-F87EC81993D2}"/>
                  </a:ext>
                </a:extLst>
              </p:cNvPr>
              <p:cNvSpPr/>
              <p:nvPr/>
            </p:nvSpPr>
            <p:spPr bwMode="gray">
              <a:xfrm>
                <a:off x="12751122" y="2181904"/>
                <a:ext cx="187184" cy="187184"/>
              </a:xfrm>
              <a:prstGeom prst="rect">
                <a:avLst/>
              </a:prstGeom>
              <a:solidFill>
                <a:srgbClr val="41955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6B89722E-49F3-144D-AC2D-0950AC3ACF7F}"/>
                  </a:ext>
                </a:extLst>
              </p:cNvPr>
              <p:cNvSpPr/>
              <p:nvPr/>
            </p:nvSpPr>
            <p:spPr bwMode="gray">
              <a:xfrm>
                <a:off x="12972642" y="2181904"/>
                <a:ext cx="187184" cy="187184"/>
              </a:xfrm>
              <a:prstGeom prst="rect">
                <a:avLst/>
              </a:prstGeom>
              <a:solidFill>
                <a:srgbClr val="C0DCC8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B5EA531-8644-120F-18B0-28D3A1DB590C}"/>
                </a:ext>
              </a:extLst>
            </p:cNvPr>
            <p:cNvGrpSpPr/>
            <p:nvPr userDrawn="1"/>
          </p:nvGrpSpPr>
          <p:grpSpPr>
            <a:xfrm>
              <a:off x="12308083" y="1982477"/>
              <a:ext cx="851743" cy="187184"/>
              <a:chOff x="12308083" y="1960536"/>
              <a:chExt cx="851743" cy="187184"/>
            </a:xfrm>
          </p:grpSpPr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3C6FF5B6-5DBB-B04F-B902-B9A93A757215}"/>
                  </a:ext>
                </a:extLst>
              </p:cNvPr>
              <p:cNvSpPr/>
              <p:nvPr/>
            </p:nvSpPr>
            <p:spPr bwMode="gray">
              <a:xfrm>
                <a:off x="12308083" y="1960536"/>
                <a:ext cx="187184" cy="187184"/>
              </a:xfrm>
              <a:prstGeom prst="rect">
                <a:avLst/>
              </a:prstGeom>
              <a:solidFill>
                <a:srgbClr val="43B02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BF821065-02C2-EF4B-9F9C-E2A91FD8F316}"/>
                  </a:ext>
                </a:extLst>
              </p:cNvPr>
              <p:cNvSpPr/>
              <p:nvPr/>
            </p:nvSpPr>
            <p:spPr bwMode="gray">
              <a:xfrm>
                <a:off x="12529603" y="1960536"/>
                <a:ext cx="187184" cy="187184"/>
              </a:xfrm>
              <a:prstGeom prst="rect">
                <a:avLst/>
              </a:prstGeom>
              <a:solidFill>
                <a:srgbClr val="A1D79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D79483A8-0232-0548-BBDE-CAC5A5717E5B}"/>
                  </a:ext>
                </a:extLst>
              </p:cNvPr>
              <p:cNvSpPr/>
              <p:nvPr/>
            </p:nvSpPr>
            <p:spPr bwMode="gray">
              <a:xfrm>
                <a:off x="12751122" y="1960536"/>
                <a:ext cx="187184" cy="187184"/>
              </a:xfrm>
              <a:prstGeom prst="rect">
                <a:avLst/>
              </a:prstGeom>
              <a:solidFill>
                <a:srgbClr val="72C45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ACF64A98-8F5F-364E-9BF7-4F76EBB2E875}"/>
                  </a:ext>
                </a:extLst>
              </p:cNvPr>
              <p:cNvSpPr/>
              <p:nvPr/>
            </p:nvSpPr>
            <p:spPr bwMode="gray">
              <a:xfrm>
                <a:off x="12972642" y="1960536"/>
                <a:ext cx="187184" cy="187184"/>
              </a:xfrm>
              <a:prstGeom prst="rect">
                <a:avLst/>
              </a:prstGeom>
              <a:solidFill>
                <a:srgbClr val="D0EBC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12308083" y="643208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12528890" y="645726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Bright Blue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12308083" y="865246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12529603" y="86776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Indigo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CE559D8-A3FE-2ADF-C818-6A2239BA9C8D}"/>
                </a:ext>
              </a:extLst>
            </p:cNvPr>
            <p:cNvGrpSpPr/>
            <p:nvPr userDrawn="1"/>
          </p:nvGrpSpPr>
          <p:grpSpPr>
            <a:xfrm>
              <a:off x="12308083" y="1312720"/>
              <a:ext cx="851743" cy="190092"/>
              <a:chOff x="12308083" y="1309014"/>
              <a:chExt cx="851743" cy="190092"/>
            </a:xfrm>
          </p:grpSpPr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D6E8F370-88B7-B143-BECC-56B2696E26F2}"/>
                  </a:ext>
                </a:extLst>
              </p:cNvPr>
              <p:cNvSpPr/>
              <p:nvPr/>
            </p:nvSpPr>
            <p:spPr bwMode="gray">
              <a:xfrm>
                <a:off x="12529603" y="1309014"/>
                <a:ext cx="187184" cy="187184"/>
              </a:xfrm>
              <a:prstGeom prst="rect">
                <a:avLst/>
              </a:prstGeom>
              <a:solidFill>
                <a:srgbClr val="80C7C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6777473D-86CB-DC41-A591-538A0820099A}"/>
                  </a:ext>
                </a:extLst>
              </p:cNvPr>
              <p:cNvSpPr/>
              <p:nvPr/>
            </p:nvSpPr>
            <p:spPr bwMode="gray">
              <a:xfrm>
                <a:off x="12751122" y="1309014"/>
                <a:ext cx="187184" cy="187184"/>
              </a:xfrm>
              <a:prstGeom prst="rect">
                <a:avLst/>
              </a:prstGeom>
              <a:solidFill>
                <a:srgbClr val="40A497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989B0485-B1FD-0E46-998C-70BF14846660}"/>
                  </a:ext>
                </a:extLst>
              </p:cNvPr>
              <p:cNvSpPr/>
              <p:nvPr/>
            </p:nvSpPr>
            <p:spPr bwMode="gray">
              <a:xfrm>
                <a:off x="12972642" y="1309014"/>
                <a:ext cx="187184" cy="187184"/>
              </a:xfrm>
              <a:prstGeom prst="rect">
                <a:avLst/>
              </a:prstGeom>
              <a:solidFill>
                <a:srgbClr val="CCE9E7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C3488BCE-878D-4A43-AA90-4912A715E8BD}"/>
                  </a:ext>
                </a:extLst>
              </p:cNvPr>
              <p:cNvSpPr/>
              <p:nvPr/>
            </p:nvSpPr>
            <p:spPr bwMode="gray">
              <a:xfrm>
                <a:off x="12308083" y="1311922"/>
                <a:ext cx="187184" cy="187184"/>
              </a:xfrm>
              <a:prstGeom prst="rect">
                <a:avLst/>
              </a:prstGeom>
              <a:solidFill>
                <a:srgbClr val="008F8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12308083" y="1537911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12528890" y="1540429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12308083" y="242704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12528890" y="2429561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Bright Green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E8E6B63-0E18-2B5F-AE36-0B95FD27C5A3}"/>
                </a:ext>
              </a:extLst>
            </p:cNvPr>
            <p:cNvSpPr/>
            <p:nvPr userDrawn="1"/>
          </p:nvSpPr>
          <p:spPr bwMode="gray">
            <a:xfrm>
              <a:off x="12308083" y="1760194"/>
              <a:ext cx="187184" cy="187184"/>
            </a:xfrm>
            <a:prstGeom prst="rect">
              <a:avLst/>
            </a:prstGeom>
            <a:solidFill>
              <a:srgbClr val="1154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7EB9D1A-6121-A3E4-E861-1158A6F8F31B}"/>
                </a:ext>
              </a:extLst>
            </p:cNvPr>
            <p:cNvSpPr txBox="1"/>
            <p:nvPr userDrawn="1"/>
          </p:nvSpPr>
          <p:spPr>
            <a:xfrm>
              <a:off x="12529603" y="176271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Emerald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4FEE050B-86F4-9EDD-08D3-38751AEE6DF2}"/>
                </a:ext>
              </a:extLst>
            </p:cNvPr>
            <p:cNvGrpSpPr/>
            <p:nvPr userDrawn="1"/>
          </p:nvGrpSpPr>
          <p:grpSpPr>
            <a:xfrm>
              <a:off x="12308083" y="3097878"/>
              <a:ext cx="851744" cy="187184"/>
              <a:chOff x="12308083" y="3083609"/>
              <a:chExt cx="851744" cy="187184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0D001CB-AF8A-510D-F4E9-A6191A4A78C5}"/>
                  </a:ext>
                </a:extLst>
              </p:cNvPr>
              <p:cNvSpPr/>
              <p:nvPr userDrawn="1"/>
            </p:nvSpPr>
            <p:spPr bwMode="gray">
              <a:xfrm>
                <a:off x="12308083" y="3083609"/>
                <a:ext cx="187184" cy="187184"/>
              </a:xfrm>
              <a:prstGeom prst="rect">
                <a:avLst/>
              </a:prstGeom>
              <a:solidFill>
                <a:srgbClr val="8300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D5362CE-1EF2-DC8F-37D5-6E294F2C5F7B}"/>
                  </a:ext>
                </a:extLst>
              </p:cNvPr>
              <p:cNvSpPr/>
              <p:nvPr userDrawn="1"/>
            </p:nvSpPr>
            <p:spPr bwMode="gray">
              <a:xfrm>
                <a:off x="12529603" y="3083609"/>
                <a:ext cx="187184" cy="187184"/>
              </a:xfrm>
              <a:prstGeom prst="rect">
                <a:avLst/>
              </a:prstGeom>
              <a:solidFill>
                <a:srgbClr val="C17F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DE12495-5861-0BBD-F5F7-B7ED59C0424F}"/>
                  </a:ext>
                </a:extLst>
              </p:cNvPr>
              <p:cNvSpPr/>
              <p:nvPr userDrawn="1"/>
            </p:nvSpPr>
            <p:spPr bwMode="gray">
              <a:xfrm>
                <a:off x="12751123" y="3083609"/>
                <a:ext cx="187184" cy="187184"/>
              </a:xfrm>
              <a:prstGeom prst="rect">
                <a:avLst/>
              </a:prstGeom>
              <a:solidFill>
                <a:srgbClr val="A240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5B3A3D63-78D8-0C24-20F2-047870D04711}"/>
                  </a:ext>
                </a:extLst>
              </p:cNvPr>
              <p:cNvSpPr/>
              <p:nvPr userDrawn="1"/>
            </p:nvSpPr>
            <p:spPr bwMode="gray">
              <a:xfrm>
                <a:off x="12972643" y="3083609"/>
                <a:ext cx="187184" cy="187184"/>
              </a:xfrm>
              <a:prstGeom prst="rect">
                <a:avLst/>
              </a:prstGeom>
              <a:solidFill>
                <a:srgbClr val="E0BF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3528DAC4-D111-4C1B-5FDB-C04C7AC728C5}"/>
                </a:ext>
              </a:extLst>
            </p:cNvPr>
            <p:cNvGrpSpPr/>
            <p:nvPr userDrawn="1"/>
          </p:nvGrpSpPr>
          <p:grpSpPr>
            <a:xfrm>
              <a:off x="12308083" y="2872314"/>
              <a:ext cx="851744" cy="187184"/>
              <a:chOff x="12308083" y="2872314"/>
              <a:chExt cx="851744" cy="187184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0BE49B6-BFF2-0D68-3894-BBC0F185ED5A}"/>
                  </a:ext>
                </a:extLst>
              </p:cNvPr>
              <p:cNvSpPr/>
              <p:nvPr userDrawn="1"/>
            </p:nvSpPr>
            <p:spPr bwMode="gray">
              <a:xfrm>
                <a:off x="12308083" y="2872314"/>
                <a:ext cx="187184" cy="187184"/>
              </a:xfrm>
              <a:prstGeom prst="rect">
                <a:avLst/>
              </a:prstGeom>
              <a:solidFill>
                <a:srgbClr val="C627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BC1A38E-3746-C101-25BC-4DC2F2CC7D8B}"/>
                  </a:ext>
                </a:extLst>
              </p:cNvPr>
              <p:cNvSpPr/>
              <p:nvPr userDrawn="1"/>
            </p:nvSpPr>
            <p:spPr bwMode="gray">
              <a:xfrm>
                <a:off x="12529603" y="2872314"/>
                <a:ext cx="187184" cy="187184"/>
              </a:xfrm>
              <a:prstGeom prst="rect">
                <a:avLst/>
              </a:prstGeom>
              <a:solidFill>
                <a:srgbClr val="E99E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0FB8B51-204B-21C1-6B54-F2F524975BB5}"/>
                  </a:ext>
                </a:extLst>
              </p:cNvPr>
              <p:cNvSpPr/>
              <p:nvPr userDrawn="1"/>
            </p:nvSpPr>
            <p:spPr bwMode="gray">
              <a:xfrm>
                <a:off x="12751123" y="2872314"/>
                <a:ext cx="187184" cy="187184"/>
              </a:xfrm>
              <a:prstGeom prst="rect">
                <a:avLst/>
              </a:prstGeom>
              <a:solidFill>
                <a:srgbClr val="DB6C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83A1F5D-8321-3B99-3AB1-9D7F6C5C3CE7}"/>
                  </a:ext>
                </a:extLst>
              </p:cNvPr>
              <p:cNvSpPr/>
              <p:nvPr userDrawn="1"/>
            </p:nvSpPr>
            <p:spPr bwMode="gray">
              <a:xfrm>
                <a:off x="12972643" y="2872314"/>
                <a:ext cx="187184" cy="187184"/>
              </a:xfrm>
              <a:prstGeom prst="rect">
                <a:avLst/>
              </a:prstGeom>
              <a:solidFill>
                <a:srgbClr val="F5CE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endParaRPr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CB808209-9C0A-DED4-F99D-563E57934075}"/>
                </a:ext>
              </a:extLst>
            </p:cNvPr>
            <p:cNvSpPr/>
            <p:nvPr userDrawn="1"/>
          </p:nvSpPr>
          <p:spPr bwMode="gray">
            <a:xfrm>
              <a:off x="12308083" y="3549006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28AFC82-17B1-F422-B038-FD32BCA7612D}"/>
                </a:ext>
              </a:extLst>
            </p:cNvPr>
            <p:cNvSpPr txBox="1"/>
            <p:nvPr userDrawn="1"/>
          </p:nvSpPr>
          <p:spPr>
            <a:xfrm>
              <a:off x="12529603" y="3550265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5% Charcoal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E58C9DF5-996C-1AE8-94E2-51D752085FF3}"/>
                </a:ext>
              </a:extLst>
            </p:cNvPr>
            <p:cNvSpPr/>
            <p:nvPr userDrawn="1"/>
          </p:nvSpPr>
          <p:spPr bwMode="gray">
            <a:xfrm>
              <a:off x="12308083" y="332344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ea typeface="+mn-ea"/>
                <a:cs typeface="+mn-cs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F476FE1F-1A3D-9826-393D-2735CFF58996}"/>
                </a:ext>
              </a:extLst>
            </p:cNvPr>
            <p:cNvSpPr txBox="1"/>
            <p:nvPr userDrawn="1"/>
          </p:nvSpPr>
          <p:spPr>
            <a:xfrm>
              <a:off x="12529603" y="3324701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2B3A42"/>
                  </a:solidFill>
                  <a:effectLst/>
                  <a:uLnTx/>
                  <a:uFillTx/>
                  <a:latin typeface="Noto Sans"/>
                  <a:ea typeface="+mn-ea"/>
                  <a:cs typeface="+mn-cs"/>
                </a:rPr>
                <a:t>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0321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  <p:sldLayoutId id="2147484135" r:id="rId12"/>
    <p:sldLayoutId id="2147484136" r:id="rId13"/>
    <p:sldLayoutId id="2147484137" r:id="rId14"/>
    <p:sldLayoutId id="2147484138" r:id="rId15"/>
    <p:sldLayoutId id="2147484139" r:id="rId16"/>
    <p:sldLayoutId id="2147484140" r:id="rId17"/>
    <p:sldLayoutId id="2147484141" r:id="rId18"/>
    <p:sldLayoutId id="2147484142" r:id="rId19"/>
    <p:sldLayoutId id="2147484143" r:id="rId20"/>
    <p:sldLayoutId id="2147484144" r:id="rId21"/>
    <p:sldLayoutId id="2147484145" r:id="rId22"/>
    <p:sldLayoutId id="2147484146" r:id="rId23"/>
    <p:sldLayoutId id="2147484147" r:id="rId24"/>
    <p:sldLayoutId id="2147484148" r:id="rId25"/>
    <p:sldLayoutId id="2147484149" r:id="rId26"/>
    <p:sldLayoutId id="2147484150" r:id="rId27"/>
    <p:sldLayoutId id="2147484151" r:id="rId28"/>
    <p:sldLayoutId id="2147484152" r:id="rId29"/>
    <p:sldLayoutId id="2147484153" r:id="rId30"/>
    <p:sldLayoutId id="2147484154" r:id="rId31"/>
    <p:sldLayoutId id="2147484155" r:id="rId32"/>
    <p:sldLayoutId id="2147484156" r:id="rId33"/>
    <p:sldLayoutId id="2147484157" r:id="rId34"/>
    <p:sldLayoutId id="2147484158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0817964-17AC-B6E0-C22F-2EDFECEED4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6501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0" imgH="411" progId="TCLayout.ActiveDocument.1">
                  <p:embed/>
                </p:oleObj>
              </mc:Choice>
              <mc:Fallback>
                <p:oleObj name="think-cell Slide" r:id="rId38" imgW="410" imgH="41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817964-17AC-B6E0-C22F-2EDFECEED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32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  <p:sldLayoutId id="2147484354" r:id="rId25"/>
    <p:sldLayoutId id="2147484355" r:id="rId26"/>
    <p:sldLayoutId id="2147484356" r:id="rId27"/>
    <p:sldLayoutId id="2147484357" r:id="rId28"/>
    <p:sldLayoutId id="2147484358" r:id="rId29"/>
    <p:sldLayoutId id="2147484359" r:id="rId30"/>
    <p:sldLayoutId id="2147484360" r:id="rId31"/>
    <p:sldLayoutId id="2147484361" r:id="rId32"/>
    <p:sldLayoutId id="2147484362" r:id="rId33"/>
    <p:sldLayoutId id="2147484363" r:id="rId34"/>
    <p:sldLayoutId id="2147484364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93BFD-5C7B-E268-249E-CBE028239D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/>
              <a:t>Building and Leading an Effective Modern Pharmacy Te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F6D17A-0BE2-7993-ED62-8F84694FE6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Balancing High-Volume Dispensing with an NHS Service Revolution
</a:t>
            </a:r>
          </a:p>
          <a:p>
            <a:r>
              <a:rPr lang="en-US" dirty="0"/>
              <a:t>Bhavin Patel | 15 Years Experience</a:t>
            </a:r>
          </a:p>
        </p:txBody>
      </p:sp>
    </p:spTree>
    <p:extLst>
      <p:ext uri="{BB962C8B-B14F-4D97-AF65-F5344CB8AC3E}">
        <p14:creationId xmlns:p14="http://schemas.microsoft.com/office/powerpoint/2010/main" val="2219798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93BFD-5C7B-E268-249E-CBE028239D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/>
              <a:t>Building and Leading an Effective Modern Pharmacy Te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F6D17A-0BE2-7993-ED62-8F84694FE6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Balancing High-Volume Dispensing with an NHS Service Revolution
</a:t>
            </a:r>
          </a:p>
          <a:p>
            <a:r>
              <a:rPr lang="en-US" dirty="0"/>
              <a:t>Bhavin Patel | 15 Years Experience</a:t>
            </a:r>
          </a:p>
        </p:txBody>
      </p:sp>
    </p:spTree>
    <p:extLst>
      <p:ext uri="{BB962C8B-B14F-4D97-AF65-F5344CB8AC3E}">
        <p14:creationId xmlns:p14="http://schemas.microsoft.com/office/powerpoint/2010/main" val="5543966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4A2B5-A878-6552-8E48-6AA5FBC13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Modern Leadership Dilemm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1AB2DD-140F-8142-9748-59735DF694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'Hero Pharmacist' Model vs. Operational Reality</a:t>
            </a:r>
          </a:p>
          <a:p>
            <a:endParaRPr lang="en-US" dirty="0"/>
          </a:p>
          <a:p>
            <a:r>
              <a:rPr lang="en-US" dirty="0"/>
              <a:t>Volume Pressures vs. Service Expectations</a:t>
            </a:r>
          </a:p>
          <a:p>
            <a:endParaRPr lang="en-US" dirty="0"/>
          </a:p>
          <a:p>
            <a:r>
              <a:rPr lang="en-US" dirty="0"/>
              <a:t>The Ultimate Leadership Core Questio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Oval Callout 4">
            <a:extLst>
              <a:ext uri="{FF2B5EF4-FFF2-40B4-BE49-F238E27FC236}">
                <a16:creationId xmlns:a16="http://schemas.microsoft.com/office/drawing/2014/main" id="{89C92CC4-84D1-DFFF-CCDE-D895CE861208}"/>
              </a:ext>
            </a:extLst>
          </p:cNvPr>
          <p:cNvSpPr/>
          <p:nvPr/>
        </p:nvSpPr>
        <p:spPr>
          <a:xfrm>
            <a:off x="3154030" y="4796119"/>
            <a:ext cx="8452883" cy="1286540"/>
          </a:xfrm>
          <a:prstGeom prst="wedgeEllipseCallout">
            <a:avLst>
              <a:gd name="adj1" fmla="val -34669"/>
              <a:gd name="adj2" fmla="val 8564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How do we scale clinical service revenue when the dispensing tracks are already full?</a:t>
            </a:r>
          </a:p>
        </p:txBody>
      </p:sp>
    </p:spTree>
    <p:extLst>
      <p:ext uri="{BB962C8B-B14F-4D97-AF65-F5344CB8AC3E}">
        <p14:creationId xmlns:p14="http://schemas.microsoft.com/office/powerpoint/2010/main" val="1385915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A8B70D-958C-EDA5-E690-21F3D0F68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L Anderson Chemist: The Inherited Bas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BFDE06-AE9F-A01D-7452-0DAEA3AD7C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c 2022 Baseline (Before Takeover):</a:t>
            </a:r>
          </a:p>
          <a:p>
            <a:pPr marL="0" indent="0">
              <a:buNone/>
            </a:pPr>
            <a:r>
              <a:rPr lang="en-US" dirty="0"/>
              <a:t>	- Monthly Prescription Volume: ~8,000 items
	 - Annual NHS Service Revenue: circa £20,000
</a:t>
            </a:r>
          </a:p>
          <a:p>
            <a:r>
              <a:rPr lang="en-US" dirty="0"/>
              <a:t>Traditional, Reactive Dispensing Model</a:t>
            </a:r>
          </a:p>
          <a:p>
            <a:endParaRPr lang="en-US" dirty="0"/>
          </a:p>
          <a:p>
            <a:r>
              <a:rPr lang="en-US" dirty="0"/>
              <a:t>The Trap: Pushing clinical pathways entirely through pharmacist willpower alone</a:t>
            </a:r>
          </a:p>
        </p:txBody>
      </p:sp>
    </p:spTree>
    <p:extLst>
      <p:ext uri="{BB962C8B-B14F-4D97-AF65-F5344CB8AC3E}">
        <p14:creationId xmlns:p14="http://schemas.microsoft.com/office/powerpoint/2010/main" val="15517312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92889-F5C2-615F-9D4A-D3A904642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uilding a Lean, Effective Modern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B4B6D1-BBF8-7A14-EAC9-43AABC85AB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Modern leadership does not require a massive payroll</a:t>
            </a:r>
          </a:p>
          <a:p>
            <a:endParaRPr lang="en-US" dirty="0"/>
          </a:p>
          <a:p>
            <a:r>
              <a:rPr lang="en-US" dirty="0"/>
              <a:t>The Ultra-Lean SL Anderson 4 - Person Power Squad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- 1 Pharmacist (Clinical Execution &amp; Leadership)
	</a:t>
            </a:r>
          </a:p>
          <a:p>
            <a:pPr marL="0" indent="0">
              <a:buNone/>
            </a:pPr>
            <a:r>
              <a:rPr lang="en-US" dirty="0"/>
              <a:t>	- 1 Counter Assistant (Frontline Triage &amp; Identification)
</a:t>
            </a:r>
          </a:p>
          <a:p>
            <a:pPr marL="0" indent="0">
              <a:buNone/>
            </a:pPr>
            <a:r>
              <a:rPr lang="en-US" dirty="0"/>
              <a:t>	- 1 Qualified Dispenser (Workflow &amp; Assembly Management)
</a:t>
            </a:r>
          </a:p>
          <a:p>
            <a:pPr marL="0" indent="0">
              <a:buNone/>
            </a:pPr>
            <a:r>
              <a:rPr lang="en-US" dirty="0"/>
              <a:t>	- 1 Trainee Pharmacy Technician (Upskilled from dispenser in Nov 2024)</a:t>
            </a:r>
          </a:p>
        </p:txBody>
      </p:sp>
    </p:spTree>
    <p:extLst>
      <p:ext uri="{BB962C8B-B14F-4D97-AF65-F5344CB8AC3E}">
        <p14:creationId xmlns:p14="http://schemas.microsoft.com/office/powerpoint/2010/main" val="17380219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0E5DD-8B6F-A61B-C8BD-CE6AC7FA4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4954" y="973668"/>
            <a:ext cx="8605734" cy="706964"/>
          </a:xfrm>
        </p:spPr>
        <p:txBody>
          <a:bodyPr/>
          <a:lstStyle/>
          <a:p>
            <a:r>
              <a:rPr lang="en-US" b="1" dirty="0"/>
              <a:t>Rebuilding as an NHS Service Powerhou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FAF1CA-4E60-F8C8-8E43-0A3B51B236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Hypertension Case Finding and ABPM</a:t>
            </a:r>
          </a:p>
          <a:p>
            <a:r>
              <a:rPr lang="en-US" dirty="0"/>
              <a:t>NHS Pharmacy Contraception Service</a:t>
            </a:r>
          </a:p>
          <a:p>
            <a:r>
              <a:rPr lang="en-US" dirty="0"/>
              <a:t>NHS Pharmacy First</a:t>
            </a:r>
          </a:p>
          <a:p>
            <a:r>
              <a:rPr lang="en-US" dirty="0"/>
              <a:t>Emergency Contraception</a:t>
            </a:r>
          </a:p>
          <a:p>
            <a:r>
              <a:rPr lang="en-US" dirty="0"/>
              <a:t>New Medicine Service (NMS)</a:t>
            </a:r>
          </a:p>
          <a:p>
            <a:r>
              <a:rPr lang="en-US" dirty="0"/>
              <a:t>&amp; Discharge Medicine Service (DMS)
Supervised Methadone, Needle Exchange, Naloxone Kits</a:t>
            </a:r>
          </a:p>
          <a:p>
            <a:r>
              <a:rPr lang="en-US" dirty="0"/>
              <a:t>Seasonal Protection: Heavily integrated NHS Covid and Flu Campaigns</a:t>
            </a:r>
          </a:p>
        </p:txBody>
      </p:sp>
    </p:spTree>
    <p:extLst>
      <p:ext uri="{BB962C8B-B14F-4D97-AF65-F5344CB8AC3E}">
        <p14:creationId xmlns:p14="http://schemas.microsoft.com/office/powerpoint/2010/main" val="38870060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FCAA8F-F225-C564-894F-D84D2F03BB74}"/>
              </a:ext>
            </a:extLst>
          </p:cNvPr>
          <p:cNvSpPr txBox="1"/>
          <p:nvPr/>
        </p:nvSpPr>
        <p:spPr>
          <a:xfrm>
            <a:off x="635000" y="508000"/>
            <a:ext cx="10160000" cy="64633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The Power of Total Team Alignment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AEACC50-A15D-0B39-633C-54639B051A55}"/>
              </a:ext>
            </a:extLst>
          </p:cNvPr>
          <p:cNvGraphicFramePr>
            <a:graphicFrameLocks noGrp="1"/>
          </p:cNvGraphicFramePr>
          <p:nvPr/>
        </p:nvGraphicFramePr>
        <p:xfrm>
          <a:off x="635000" y="1905000"/>
          <a:ext cx="10922000" cy="44449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0500">
                  <a:extLst>
                    <a:ext uri="{9D8B030D-6E8A-4147-A177-3AD203B41FA5}">
                      <a16:colId xmlns:a16="http://schemas.microsoft.com/office/drawing/2014/main" val="23314372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62896336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3942008548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1605980912"/>
                    </a:ext>
                  </a:extLst>
                </a:gridCol>
              </a:tblGrid>
              <a:tr h="740833">
                <a:tc>
                  <a:txBody>
                    <a:bodyPr/>
                    <a:lstStyle/>
                    <a:p>
                      <a:r>
                        <a:rPr lang="en-US" sz="1400" dirty="0"/>
                        <a:t>Year / Peri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escription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HS Service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Growth Narr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8147236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600" b="1" dirty="0"/>
                        <a:t>Dec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~ 8,000 items / </a:t>
                      </a:r>
                      <a:r>
                        <a:rPr lang="en-US" sz="1600" dirty="0" err="1"/>
                        <a:t>mo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irca </a:t>
                      </a:r>
                      <a:r>
                        <a:rPr lang="en-US" sz="1600" b="1" dirty="0"/>
                        <a:t>£20,00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Inherited Base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4151538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400"/>
                        <a:t>Dec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 8,000 items / </a:t>
                      </a:r>
                      <a:r>
                        <a:rPr lang="en-US" sz="1400" dirty="0" err="1"/>
                        <a:t>m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£47,845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/>
                        <a:t>Service Revenue Doubl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5714152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400"/>
                        <a:t>Dec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 8,500 items / </a:t>
                      </a:r>
                      <a:r>
                        <a:rPr lang="en-US" sz="1400" dirty="0" err="1"/>
                        <a:t>m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£80,50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Upskilling &amp; Team Accele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945734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600" b="1" dirty="0"/>
                        <a:t>Dec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 9,000 items / </a:t>
                      </a:r>
                      <a:r>
                        <a:rPr lang="en-US" sz="1400" dirty="0" err="1"/>
                        <a:t>m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£87,00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cess Optim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7746640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800" b="1" dirty="0"/>
                        <a:t>Jan - </a:t>
                      </a:r>
                      <a:r>
                        <a:rPr lang="en-US" sz="1800" b="1" u="sng" dirty="0"/>
                        <a:t>June 20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</a:t>
                      </a:r>
                      <a:r>
                        <a:rPr lang="en-US" sz="1800" b="1" dirty="0"/>
                        <a:t> 9,500 items / </a:t>
                      </a:r>
                      <a:r>
                        <a:rPr lang="en-US" sz="1800" b="1" dirty="0" err="1"/>
                        <a:t>mo</a:t>
                      </a:r>
                      <a:endParaRPr lang="en-US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/>
                        <a:t>£49,99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/>
                        <a:t>Pacing to clear £100k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64984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751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78DEF-065C-4372-930A-952AA405D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lueprint: Managing the Volume Squeez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BA3CB5-1CBC-F0B6-1127-C7E7F61B2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1. Protect Pharmacist Cognitive Load</a:t>
            </a:r>
          </a:p>
          <a:p>
            <a:pPr marL="0" indent="0">
              <a:buNone/>
            </a:pPr>
            <a:r>
              <a:rPr lang="en-US" dirty="0"/>
              <a:t>	- Delegate assembly, typing, and admin entry on MYS/</a:t>
            </a:r>
            <a:r>
              <a:rPr lang="en-US" dirty="0" err="1"/>
              <a:t>PharmOutcomes</a:t>
            </a:r>
            <a:r>
              <a:rPr lang="en-US" dirty="0"/>
              <a:t> 		platforms</a:t>
            </a:r>
          </a:p>
          <a:p>
            <a:pPr marL="0" indent="0">
              <a:buNone/>
            </a:pPr>
            <a:r>
              <a:rPr lang="en-US" dirty="0"/>
              <a:t>	- Focus the pharmacist entirely on clinical execution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2. Control the Schedule</a:t>
            </a:r>
          </a:p>
          <a:p>
            <a:pPr marL="457200" lvl="1" indent="0">
              <a:buNone/>
            </a:pPr>
            <a:r>
              <a:rPr lang="en-US" dirty="0"/>
              <a:t> - Avoid walk-in chaos; book complex reviews into operational 'quiet windows’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3. Change Language from 'Sales' to 'Care’ </a:t>
            </a:r>
          </a:p>
          <a:p>
            <a:pPr marL="0" indent="0">
              <a:buNone/>
            </a:pPr>
            <a:r>
              <a:rPr lang="en-US" dirty="0"/>
              <a:t>	-  Frame services around saving the patient an A&amp;E wait or a 3-week GP 	delay</a:t>
            </a:r>
          </a:p>
        </p:txBody>
      </p:sp>
    </p:spTree>
    <p:extLst>
      <p:ext uri="{BB962C8B-B14F-4D97-AF65-F5344CB8AC3E}">
        <p14:creationId xmlns:p14="http://schemas.microsoft.com/office/powerpoint/2010/main" val="10532849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20969-E1E4-7244-2F75-E09DCBE8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Legacy of a Modern L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D46735-D8BA-FF8F-8456-426DB63DFE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9406099" cy="3416300"/>
          </a:xfrm>
        </p:spPr>
        <p:txBody>
          <a:bodyPr>
            <a:normAutofit/>
          </a:bodyPr>
          <a:lstStyle/>
          <a:p>
            <a:r>
              <a:rPr lang="en-US" dirty="0"/>
              <a:t>The 'Hero Pharmacist' model ends in burnout; the 'Hero Team' model creates growth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Empower counter teams          Delegate to technicians          Trust the ecosystem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top simply clearing the script pile - start building clinical partners</a:t>
            </a:r>
          </a:p>
          <a:p>
            <a:endParaRPr lang="en-US" dirty="0"/>
          </a:p>
          <a:p>
            <a:r>
              <a:rPr lang="en-US" dirty="0"/>
              <a:t>Thank You! Questions?</a:t>
            </a:r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ED2F113A-7078-A477-E92B-F0EFA5884E52}"/>
              </a:ext>
            </a:extLst>
          </p:cNvPr>
          <p:cNvSpPr/>
          <p:nvPr/>
        </p:nvSpPr>
        <p:spPr>
          <a:xfrm>
            <a:off x="4459455" y="3758608"/>
            <a:ext cx="414670" cy="26581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08438093-3E59-A711-5854-EDFCD77BE1C9}"/>
              </a:ext>
            </a:extLst>
          </p:cNvPr>
          <p:cNvSpPr/>
          <p:nvPr/>
        </p:nvSpPr>
        <p:spPr>
          <a:xfrm>
            <a:off x="7775078" y="3758607"/>
            <a:ext cx="414670" cy="26581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2731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299EA8B-C9E5-0F85-5A98-27C5667347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dirty="0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3508325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4A2B5-A878-6552-8E48-6AA5FBC13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Modern Leadership Dilemm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1AB2DD-140F-8142-9748-59735DF694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'Hero Pharmacist' Model vs. Operational Reality</a:t>
            </a:r>
          </a:p>
          <a:p>
            <a:endParaRPr lang="en-US" dirty="0"/>
          </a:p>
          <a:p>
            <a:r>
              <a:rPr lang="en-US" dirty="0"/>
              <a:t>Volume Pressures vs. Service Expectations</a:t>
            </a:r>
          </a:p>
          <a:p>
            <a:endParaRPr lang="en-US" dirty="0"/>
          </a:p>
          <a:p>
            <a:r>
              <a:rPr lang="en-US" dirty="0"/>
              <a:t>The Ultimate Leadership Core Question: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Oval Callout 4">
            <a:extLst>
              <a:ext uri="{FF2B5EF4-FFF2-40B4-BE49-F238E27FC236}">
                <a16:creationId xmlns:a16="http://schemas.microsoft.com/office/drawing/2014/main" id="{89C92CC4-84D1-DFFF-CCDE-D895CE861208}"/>
              </a:ext>
            </a:extLst>
          </p:cNvPr>
          <p:cNvSpPr/>
          <p:nvPr/>
        </p:nvSpPr>
        <p:spPr>
          <a:xfrm>
            <a:off x="3154030" y="4796119"/>
            <a:ext cx="8452883" cy="1286540"/>
          </a:xfrm>
          <a:prstGeom prst="wedgeEllipseCallout">
            <a:avLst>
              <a:gd name="adj1" fmla="val -34669"/>
              <a:gd name="adj2" fmla="val 8564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How do we scale clinical service revenue when the dispensing tracks are already full?</a:t>
            </a:r>
          </a:p>
        </p:txBody>
      </p:sp>
    </p:spTree>
    <p:extLst>
      <p:ext uri="{BB962C8B-B14F-4D97-AF65-F5344CB8AC3E}">
        <p14:creationId xmlns:p14="http://schemas.microsoft.com/office/powerpoint/2010/main" val="428595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A8B70D-958C-EDA5-E690-21F3D0F68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L Anderson Chemist: The Inherited Bas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BFDE06-AE9F-A01D-7452-0DAEA3AD7C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c 2022 Baseline (Before Takeover):</a:t>
            </a:r>
          </a:p>
          <a:p>
            <a:pPr marL="0" indent="0">
              <a:buNone/>
            </a:pPr>
            <a:r>
              <a:rPr lang="en-US" dirty="0"/>
              <a:t>	- Monthly Prescription Volume: ~8,000 items
	 - Annual NHS Service Revenue: circa £20,000
</a:t>
            </a:r>
          </a:p>
          <a:p>
            <a:r>
              <a:rPr lang="en-US" dirty="0"/>
              <a:t>Traditional, Reactive Dispensing Model</a:t>
            </a:r>
          </a:p>
          <a:p>
            <a:endParaRPr lang="en-US" dirty="0"/>
          </a:p>
          <a:p>
            <a:r>
              <a:rPr lang="en-US" dirty="0"/>
              <a:t>The Trap: Pushing clinical pathways entirely through pharmacist willpower alone</a:t>
            </a:r>
          </a:p>
        </p:txBody>
      </p:sp>
    </p:spTree>
    <p:extLst>
      <p:ext uri="{BB962C8B-B14F-4D97-AF65-F5344CB8AC3E}">
        <p14:creationId xmlns:p14="http://schemas.microsoft.com/office/powerpoint/2010/main" val="2817867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92889-F5C2-615F-9D4A-D3A904642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uilding a Lean, Effective Modern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B4B6D1-BBF8-7A14-EAC9-43AABC85AB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Modern leadership does not require a massive payroll</a:t>
            </a:r>
          </a:p>
          <a:p>
            <a:endParaRPr lang="en-US" dirty="0"/>
          </a:p>
          <a:p>
            <a:r>
              <a:rPr lang="en-US" dirty="0"/>
              <a:t>The Ultra-Lean SL Anderson 4 - Person Power Squad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- 1 Pharmacist (Clinical Execution &amp; Leadership)
	</a:t>
            </a:r>
          </a:p>
          <a:p>
            <a:pPr marL="0" indent="0">
              <a:buNone/>
            </a:pPr>
            <a:r>
              <a:rPr lang="en-US" dirty="0"/>
              <a:t>	- 1 Counter Assistant (Frontline Triage &amp; Identification)
</a:t>
            </a:r>
          </a:p>
          <a:p>
            <a:pPr marL="0" indent="0">
              <a:buNone/>
            </a:pPr>
            <a:r>
              <a:rPr lang="en-US" dirty="0"/>
              <a:t>	- 1 Qualified Dispenser (Workflow &amp; Assembly Management)
</a:t>
            </a:r>
          </a:p>
          <a:p>
            <a:pPr marL="0" indent="0">
              <a:buNone/>
            </a:pPr>
            <a:r>
              <a:rPr lang="en-US" dirty="0"/>
              <a:t>	- 1 Trainee Pharmacy Technician (Upskilled from dispenser in Nov 2024)</a:t>
            </a:r>
          </a:p>
        </p:txBody>
      </p:sp>
    </p:spTree>
    <p:extLst>
      <p:ext uri="{BB962C8B-B14F-4D97-AF65-F5344CB8AC3E}">
        <p14:creationId xmlns:p14="http://schemas.microsoft.com/office/powerpoint/2010/main" val="3207131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0E5DD-8B6F-A61B-C8BD-CE6AC7FA4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4954" y="973668"/>
            <a:ext cx="8605734" cy="706964"/>
          </a:xfrm>
        </p:spPr>
        <p:txBody>
          <a:bodyPr/>
          <a:lstStyle/>
          <a:p>
            <a:r>
              <a:rPr lang="en-US" b="1" dirty="0"/>
              <a:t>Rebuilding as an NHS Service Powerhou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FAF1CA-4E60-F8C8-8E43-0A3B51B236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Hypertension Case Finding and ABPM</a:t>
            </a:r>
          </a:p>
          <a:p>
            <a:r>
              <a:rPr lang="en-US" dirty="0"/>
              <a:t>NHS Pharmacy Contraception Service</a:t>
            </a:r>
          </a:p>
          <a:p>
            <a:r>
              <a:rPr lang="en-US" dirty="0"/>
              <a:t>NHS Pharmacy First</a:t>
            </a:r>
          </a:p>
          <a:p>
            <a:r>
              <a:rPr lang="en-US" dirty="0"/>
              <a:t>Emergency Contraception</a:t>
            </a:r>
          </a:p>
          <a:p>
            <a:r>
              <a:rPr lang="en-US" dirty="0"/>
              <a:t>New Medicine Service (NMS)</a:t>
            </a:r>
          </a:p>
          <a:p>
            <a:r>
              <a:rPr lang="en-US" dirty="0"/>
              <a:t>&amp; Discharge Medicine Service (DMS)
Supervised Methadone, Needle Exchange, Naloxone Kits</a:t>
            </a:r>
          </a:p>
          <a:p>
            <a:r>
              <a:rPr lang="en-US" dirty="0"/>
              <a:t>Seasonal Protection: Heavily integrated NHS Covid and Flu Campaigns</a:t>
            </a:r>
          </a:p>
        </p:txBody>
      </p:sp>
    </p:spTree>
    <p:extLst>
      <p:ext uri="{BB962C8B-B14F-4D97-AF65-F5344CB8AC3E}">
        <p14:creationId xmlns:p14="http://schemas.microsoft.com/office/powerpoint/2010/main" val="1287426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FCAA8F-F225-C564-894F-D84D2F03BB74}"/>
              </a:ext>
            </a:extLst>
          </p:cNvPr>
          <p:cNvSpPr txBox="1"/>
          <p:nvPr/>
        </p:nvSpPr>
        <p:spPr>
          <a:xfrm>
            <a:off x="635000" y="508000"/>
            <a:ext cx="10160000" cy="64633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The Power of Total Team Alignment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AEACC50-A15D-0B39-633C-54639B051A55}"/>
              </a:ext>
            </a:extLst>
          </p:cNvPr>
          <p:cNvGraphicFramePr>
            <a:graphicFrameLocks noGrp="1"/>
          </p:cNvGraphicFramePr>
          <p:nvPr/>
        </p:nvGraphicFramePr>
        <p:xfrm>
          <a:off x="635000" y="1905000"/>
          <a:ext cx="10922000" cy="44449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0500">
                  <a:extLst>
                    <a:ext uri="{9D8B030D-6E8A-4147-A177-3AD203B41FA5}">
                      <a16:colId xmlns:a16="http://schemas.microsoft.com/office/drawing/2014/main" val="23314372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62896336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3942008548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1605980912"/>
                    </a:ext>
                  </a:extLst>
                </a:gridCol>
              </a:tblGrid>
              <a:tr h="740833">
                <a:tc>
                  <a:txBody>
                    <a:bodyPr/>
                    <a:lstStyle/>
                    <a:p>
                      <a:r>
                        <a:rPr lang="en-US" sz="1400" dirty="0"/>
                        <a:t>Year / Peri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escription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HS Service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Growth Narr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8147236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600" b="1" dirty="0"/>
                        <a:t>Dec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~ 8,000 items / </a:t>
                      </a:r>
                      <a:r>
                        <a:rPr lang="en-US" sz="1600" dirty="0" err="1"/>
                        <a:t>mo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irca </a:t>
                      </a:r>
                      <a:r>
                        <a:rPr lang="en-US" sz="1600" b="1" dirty="0"/>
                        <a:t>£20,00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Inherited Base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4151538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400"/>
                        <a:t>Dec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 8,000 items / </a:t>
                      </a:r>
                      <a:r>
                        <a:rPr lang="en-US" sz="1400" dirty="0" err="1"/>
                        <a:t>m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£47,845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/>
                        <a:t>Service Revenue Doubl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5714152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400"/>
                        <a:t>Dec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 8,500 items / </a:t>
                      </a:r>
                      <a:r>
                        <a:rPr lang="en-US" sz="1400" dirty="0" err="1"/>
                        <a:t>m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£80,50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Upskilling &amp; Team Accele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945734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600" b="1" dirty="0"/>
                        <a:t>Dec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 9,000 items / </a:t>
                      </a:r>
                      <a:r>
                        <a:rPr lang="en-US" sz="1400" dirty="0" err="1"/>
                        <a:t>m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£87,00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cess Optim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7746640"/>
                  </a:ext>
                </a:extLst>
              </a:tr>
              <a:tr h="740833">
                <a:tc>
                  <a:txBody>
                    <a:bodyPr/>
                    <a:lstStyle/>
                    <a:p>
                      <a:r>
                        <a:rPr lang="en-US" sz="1800" b="1" dirty="0"/>
                        <a:t>Jan - </a:t>
                      </a:r>
                      <a:r>
                        <a:rPr lang="en-US" sz="1800" b="1" u="sng" dirty="0"/>
                        <a:t>June 20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~</a:t>
                      </a:r>
                      <a:r>
                        <a:rPr lang="en-US" sz="1800" b="1" dirty="0"/>
                        <a:t> 9,500 items / </a:t>
                      </a:r>
                      <a:r>
                        <a:rPr lang="en-US" sz="1800" b="1" dirty="0" err="1"/>
                        <a:t>mo</a:t>
                      </a:r>
                      <a:endParaRPr lang="en-US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/>
                        <a:t>£49,99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/>
                        <a:t>Pacing to clear £100k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64984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986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78DEF-065C-4372-930A-952AA405D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lueprint: Managing the Volume Squeez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BA3CB5-1CBC-F0B6-1127-C7E7F61B2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/>
              <a:t>1. Protect Pharmacist Cognitive Load</a:t>
            </a:r>
          </a:p>
          <a:p>
            <a:pPr marL="0" indent="0">
              <a:buNone/>
            </a:pPr>
            <a:r>
              <a:rPr lang="en-US" dirty="0"/>
              <a:t>	- Delegate assembly, typing, and admin entry on MYS/</a:t>
            </a:r>
            <a:r>
              <a:rPr lang="en-US" dirty="0" err="1"/>
              <a:t>PharmOutcomes</a:t>
            </a:r>
            <a:r>
              <a:rPr lang="en-US" dirty="0"/>
              <a:t> 		platforms</a:t>
            </a:r>
          </a:p>
          <a:p>
            <a:pPr marL="0" indent="0">
              <a:buNone/>
            </a:pPr>
            <a:r>
              <a:rPr lang="en-US" dirty="0"/>
              <a:t>	- Focus the pharmacist entirely on clinical execution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2. Control the Schedule</a:t>
            </a:r>
          </a:p>
          <a:p>
            <a:pPr marL="457200" lvl="1" indent="0">
              <a:buNone/>
            </a:pPr>
            <a:r>
              <a:rPr lang="en-US" dirty="0"/>
              <a:t> - Avoid walk-in chaos; book complex reviews into operational 'quiet windows’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3. Change Language from 'Sales' to 'Care’ </a:t>
            </a:r>
          </a:p>
          <a:p>
            <a:pPr marL="0" indent="0">
              <a:buNone/>
            </a:pPr>
            <a:r>
              <a:rPr lang="en-US" dirty="0"/>
              <a:t>	-  Frame services around saving the patient an A&amp;E wait or a 3-week GP 	delay</a:t>
            </a:r>
          </a:p>
        </p:txBody>
      </p:sp>
    </p:spTree>
    <p:extLst>
      <p:ext uri="{BB962C8B-B14F-4D97-AF65-F5344CB8AC3E}">
        <p14:creationId xmlns:p14="http://schemas.microsoft.com/office/powerpoint/2010/main" val="92330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20969-E1E4-7244-2F75-E09DCBE8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Legacy of a Modern L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D46735-D8BA-FF8F-8456-426DB63DFE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9406099" cy="3416300"/>
          </a:xfrm>
        </p:spPr>
        <p:txBody>
          <a:bodyPr>
            <a:normAutofit/>
          </a:bodyPr>
          <a:lstStyle/>
          <a:p>
            <a:r>
              <a:rPr lang="en-US" dirty="0"/>
              <a:t>The 'Hero Pharmacist' model ends in burnout; the 'Hero Team' model creates growth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Empower counter teams          Delegate to technicians          Trust the ecosystem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top simply clearing the script pile - start building clinical partners</a:t>
            </a:r>
          </a:p>
          <a:p>
            <a:endParaRPr lang="en-US" dirty="0"/>
          </a:p>
          <a:p>
            <a:r>
              <a:rPr lang="en-US" dirty="0"/>
              <a:t>Thank You! Questions?</a:t>
            </a:r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ED2F113A-7078-A477-E92B-F0EFA5884E52}"/>
              </a:ext>
            </a:extLst>
          </p:cNvPr>
          <p:cNvSpPr/>
          <p:nvPr/>
        </p:nvSpPr>
        <p:spPr>
          <a:xfrm>
            <a:off x="4459455" y="3758608"/>
            <a:ext cx="414670" cy="26581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08438093-3E59-A711-5854-EDFCD77BE1C9}"/>
              </a:ext>
            </a:extLst>
          </p:cNvPr>
          <p:cNvSpPr/>
          <p:nvPr/>
        </p:nvSpPr>
        <p:spPr>
          <a:xfrm>
            <a:off x="7775078" y="3758607"/>
            <a:ext cx="414670" cy="26581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9519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299EA8B-C9E5-0F85-5A98-27C5667347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dirty="0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399411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Ion Boardroom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IQVIA_V4.0.0">
  <a:themeElements>
    <a:clrScheme name="IQVIA_2026">
      <a:dk1>
        <a:srgbClr val="2B3A42"/>
      </a:dk1>
      <a:lt1>
        <a:srgbClr val="FFFFFF"/>
      </a:lt1>
      <a:dk2>
        <a:srgbClr val="140B42"/>
      </a:dk2>
      <a:lt2>
        <a:srgbClr val="F3F3F3"/>
      </a:lt2>
      <a:accent1>
        <a:srgbClr val="00A3E0"/>
      </a:accent1>
      <a:accent2>
        <a:srgbClr val="005587"/>
      </a:accent2>
      <a:accent3>
        <a:srgbClr val="00BFB3"/>
      </a:accent3>
      <a:accent4>
        <a:srgbClr val="008F86"/>
      </a:accent4>
      <a:accent5>
        <a:srgbClr val="43B02A"/>
      </a:accent5>
      <a:accent6>
        <a:srgbClr val="027223"/>
      </a:accent6>
      <a:hlink>
        <a:srgbClr val="00A3E0"/>
      </a:hlink>
      <a:folHlink>
        <a:srgbClr val="005587"/>
      </a:folHlink>
    </a:clrScheme>
    <a:fontScheme name="IQVIA_2026">
      <a:majorFont>
        <a:latin typeface="Noto Sans"/>
        <a:ea typeface=""/>
        <a:cs typeface=""/>
      </a:majorFont>
      <a:minorFont>
        <a:latin typeface="Not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32C60C94-CEA8-46C2-BF76-484874A62A87}" vid="{5FEE722D-C188-404F-AAAA-6E3794A31C2F}"/>
    </a:ext>
  </a:extLst>
</a:theme>
</file>

<file path=ppt/theme/theme3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</TotalTime>
  <Words>916</Words>
  <Application>Microsoft Office PowerPoint</Application>
  <PresentationFormat>Widescreen</PresentationFormat>
  <Paragraphs>156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ptos</vt:lpstr>
      <vt:lpstr>Arial</vt:lpstr>
      <vt:lpstr>Arial Narrow</vt:lpstr>
      <vt:lpstr>Century Gothic</vt:lpstr>
      <vt:lpstr>Georgia</vt:lpstr>
      <vt:lpstr>Noto Sans</vt:lpstr>
      <vt:lpstr>Noto Sans Light</vt:lpstr>
      <vt:lpstr>System Font Regular</vt:lpstr>
      <vt:lpstr>Wingdings</vt:lpstr>
      <vt:lpstr>Wingdings 3</vt:lpstr>
      <vt:lpstr>Ion Boardroom</vt:lpstr>
      <vt:lpstr>IQVIA_V4.0.0</vt:lpstr>
      <vt:lpstr>IQVIA_V3.0.0</vt:lpstr>
      <vt:lpstr>think-cell Slide</vt:lpstr>
      <vt:lpstr>Building and Leading an Effective Modern Pharmacy Team</vt:lpstr>
      <vt:lpstr>The Modern Leadership Dilemma</vt:lpstr>
      <vt:lpstr>SL Anderson Chemist: The Inherited Baseline</vt:lpstr>
      <vt:lpstr>Building a Lean, Effective Modern Team</vt:lpstr>
      <vt:lpstr>Rebuilding as an NHS Service Powerhouse</vt:lpstr>
      <vt:lpstr>PowerPoint Presentation</vt:lpstr>
      <vt:lpstr>Blueprint: Managing the Volume Squeeze</vt:lpstr>
      <vt:lpstr>The Legacy of a Modern Leader</vt:lpstr>
      <vt:lpstr>PowerPoint Presentation</vt:lpstr>
      <vt:lpstr>Building and Leading an Effective Modern Pharmacy Team</vt:lpstr>
      <vt:lpstr>The Modern Leadership Dilemma</vt:lpstr>
      <vt:lpstr>SL Anderson Chemist: The Inherited Baseline</vt:lpstr>
      <vt:lpstr>Building a Lean, Effective Modern Team</vt:lpstr>
      <vt:lpstr>Rebuilding as an NHS Service Powerhouse</vt:lpstr>
      <vt:lpstr>PowerPoint Presentation</vt:lpstr>
      <vt:lpstr>Blueprint: Managing the Volume Squeeze</vt:lpstr>
      <vt:lpstr>The Legacy of a Modern Lead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ngrid Cruickshank</dc:creator>
  <cp:lastModifiedBy>Ann-Marie Carrey</cp:lastModifiedBy>
  <cp:revision>7</cp:revision>
  <dcterms:created xsi:type="dcterms:W3CDTF">2026-06-16T13:59:37Z</dcterms:created>
  <dcterms:modified xsi:type="dcterms:W3CDTF">2026-07-02T08:10:03Z</dcterms:modified>
</cp:coreProperties>
</file>